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7.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omments/modernComment_10A_CF4EF870.xml" ContentType="application/vnd.ms-powerpoint.comments+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93" r:id="rId5"/>
    <p:sldMasterId id="2147483715" r:id="rId6"/>
    <p:sldMasterId id="2147483744" r:id="rId7"/>
    <p:sldMasterId id="2147483755" r:id="rId8"/>
    <p:sldMasterId id="2147483772" r:id="rId9"/>
    <p:sldMasterId id="2147483785" r:id="rId10"/>
    <p:sldMasterId id="2147483797" r:id="rId11"/>
    <p:sldMasterId id="2147483808" r:id="rId12"/>
  </p:sldMasterIdLst>
  <p:notesMasterIdLst>
    <p:notesMasterId r:id="rId42"/>
  </p:notesMasterIdLst>
  <p:sldIdLst>
    <p:sldId id="2147481546" r:id="rId13"/>
    <p:sldId id="259" r:id="rId14"/>
    <p:sldId id="263" r:id="rId15"/>
    <p:sldId id="2147481617" r:id="rId16"/>
    <p:sldId id="2147481612" r:id="rId17"/>
    <p:sldId id="2147481624" r:id="rId18"/>
    <p:sldId id="2147483635" r:id="rId19"/>
    <p:sldId id="2147481619" r:id="rId20"/>
    <p:sldId id="2147481620" r:id="rId21"/>
    <p:sldId id="2147481621" r:id="rId22"/>
    <p:sldId id="2147481575" r:id="rId23"/>
    <p:sldId id="2147481630" r:id="rId24"/>
    <p:sldId id="2147481613" r:id="rId25"/>
    <p:sldId id="2147481623" r:id="rId26"/>
    <p:sldId id="2147481610" r:id="rId27"/>
    <p:sldId id="2147483631" r:id="rId28"/>
    <p:sldId id="2147483638" r:id="rId29"/>
    <p:sldId id="2147481559" r:id="rId30"/>
    <p:sldId id="2147481614" r:id="rId31"/>
    <p:sldId id="2147481629" r:id="rId32"/>
    <p:sldId id="266" r:id="rId33"/>
    <p:sldId id="2147483633" r:id="rId34"/>
    <p:sldId id="2147483639" r:id="rId35"/>
    <p:sldId id="2147483637" r:id="rId36"/>
    <p:sldId id="2147481591" r:id="rId37"/>
    <p:sldId id="2147481625" r:id="rId38"/>
    <p:sldId id="2147481626" r:id="rId39"/>
    <p:sldId id="2147483642" r:id="rId40"/>
    <p:sldId id="2147481558" r:id="rId41"/>
  </p:sldIdLst>
  <p:sldSz cx="12192000" cy="6858000"/>
  <p:notesSz cx="9309100" cy="70231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0C0302-2FAB-DBA6-3048-A04F3E7CDEF9}" name="Tisinger, Katherine M." initials="TKM" userId="S::katherine.m.tisinger@accenture.com::01e562b7-f58e-47a5-93dd-8dd99b5126d4" providerId="AD"/>
  <p188:author id="{9703A506-E9C5-75EF-E50E-E915A37ED199}" name="Ordway, Alysia M (EOL)" initials="OAM(" userId="S::Alysia.M.Ordway@mass.gov::397ec4ef-180d-4b35-88e2-00d8f30a1fdd" providerId="AD"/>
  <p188:author id="{BD284211-9147-8805-905A-4D3FC9936415}" name="Thompson, Chris (EOHLC)" initials="TC(" userId="S::Chris.Thompson@mass.gov::430a30b9-3c8b-4eae-98fa-52fd2b39fea5" providerId="AD"/>
  <p188:author id="{71ED2012-A76C-234C-89E8-92F42C04D94B}" name="Venguer, Nicole (A&amp;F)" initials="VN(" userId="S::Nicole.Venguer@mass.gov::cd936947-338e-46e3-89ec-0bf8cee7be15" providerId="AD"/>
  <p188:author id="{A390DF14-4632-B625-89BC-3AED350937E0}" name="Laura" initials="L" userId="S::Laura.Hernandez2@mass.gov::d67d64e5-c664-4cc6-afce-aec683e55331" providerId="AD"/>
  <p188:author id="{9752AE1A-BD6E-C802-793E-6B450C9BDE1C}" name="Stone, Ben (EOHLC)" initials="S(" userId="S::ben.stone@mass.gov::0f424737-e0a8-485e-8b2b-d868465df3b2" providerId="AD"/>
  <p188:author id="{C9896D1B-86DE-1318-FB51-49A7ECAECA8E}" name="Stitely, Amy (EOHLC)" initials="AS" userId="S::amy.stitely@mass.gov::8760cb38-3584-482c-9a32-a9a96f11ca98" providerId="AD"/>
  <p188:author id="{8040E61C-ADA3-67E0-F8CE-1358CBF55380}" name="Basheer, Aditya W. (A&amp;F)" initials="B(" userId="S::aditya.w.basheer@mass.gov::bcde0754-384d-47eb-b387-c9ec5e4f4c2c" providerId="AD"/>
  <p188:author id="{7C84BC23-7606-A714-FE67-E5D2D8113D2C}" name="Brown, Ken (EOL)" initials="B(" userId="S::ken.brown@mass.gov::a46f0b82-c76d-4285-bb7f-83ee6ea21fd9" providerId="AD"/>
  <p188:author id="{02490925-4ED6-9E0D-A157-3346A3895A35}" name="Appugliese, Joanna M." initials="AJM" userId="S::joanna.m.appugliese@accenture.com::3f2b6825-0119-413b-a487-e681054144ec" providerId="AD"/>
  <p188:author id="{E2CC2A26-E4E1-7DF5-C338-AEF11CD49A32}" name="McGuill, Ryan" initials="RM" userId="S::ryan.mcguill@accenture.com::ccf76a90-746f-4857-acdd-f000bab08198" providerId="AD"/>
  <p188:author id="{29640527-08BC-1416-26DB-9144A7EA2CA2}" name="Marcus, Claire S." initials="MCS" userId="S::claire.s.marcus@accenture.com::15938662-5f1f-4d13-9d2e-664eaac8f32b" providerId="AD"/>
  <p188:author id="{C485672D-4A72-EE0F-6A3F-81454DAD2033}" name="Jhunjhunwala, Satakshi" initials="JS" userId="S::s.b.jhunjhunwala@accenture.com::73aa2983-4e99-483c-9305-1df3641f7675" providerId="AD"/>
  <p188:author id="{999C6D34-97F3-5A84-4A3A-062CE75B74CC}" name="Hobby, Imogen (A&amp;F)" initials="IH" userId="Hobby, Imogen (A&amp;F)" providerId="None"/>
  <p188:author id="{A9D1AD34-238F-1760-091B-326F63184C8E}" name="Dyen, Lisa R (EHS)" initials="LD" userId="S::Lisa.R.Dyen@mass.gov::b79da6b5-936b-40ce-b7c1-4f9d97a9f89b" providerId="AD"/>
  <p188:author id="{E6E21F38-ACC1-C8A5-A9B1-1C1E25560993}" name="Freire, Leandro (ORI)" initials="" userId="S::leandro.freire@mass.gov::c52f2563-044b-4198-9f4e-4ace32b10ab2" providerId="AD"/>
  <p188:author id="{AFEA8B3B-2D29-2683-F7B9-3E6C282ACC8A}" name="Tisinger, Katie (A&amp;F)" initials="T(" userId="S::katie.tisinger@mass.gov::b780e063-053f-4353-8f63-23391e333ac0" providerId="AD"/>
  <p188:author id="{0F91E23D-93BF-ADE6-C0CA-9BC9F0E04EC0}" name="Venguer, Nicole (A&amp;F)" initials="V(" userId="S::nicole.venguer@mass.gov::cd936947-338e-46e3-89ec-0bf8cee7be15" providerId="AD"/>
  <p188:author id="{5482C640-E923-C83E-4A99-D57CDC9328C0}" name="McElderry, Kristin" initials="MK" userId="S::kristin.mcelderry_accenture.com#ext#@massgov.onmicrosoft.com::f6da3f67-f840-4a29-a0c3-cbec3509cee2" providerId="AD"/>
  <p188:author id="{7473FA40-E9A5-924C-FC35-16C3552B636D}" name="Cohen, Jesse (EOHLC)" initials="CJ(" userId="S::Jesse.Cohen@mass.gov::de239717-22e7-44d6-95d4-dec19091c871" providerId="AD"/>
  <p188:author id="{B55FC044-89D0-79B5-5CBC-BA1B78A20711}" name="Diaz, Sara I (EOHLC)" initials="DSI(" userId="S::Sara.I.Diaz@mass.gov::b9f8e7e8-7e7c-47fd-9305-927bf442c409" providerId="AD"/>
  <p188:author id="{E2346748-F2C4-3E2E-8DDE-6BCC85675C89}" name="Sweezey, Tovah Miller (EOL)" initials="S(" userId="S::tovah.sweezey@mass.gov::f8936efe-bc2e-41b8-97f7-7c988ddcf264" providerId="AD"/>
  <p188:author id="{3B454952-4E37-7312-9CA3-3629BB032DF1}" name="Hernandez, Laura A." initials="HLA" userId="S::laura.a.hernandez@accenture.com::02d3e94e-d437-4535-a295-9e0c06160f69" providerId="AD"/>
  <p188:author id="{63C64B52-6821-BFA7-F3FF-6C39C4B58FD3}" name="Sharp, Catia Ruth (A&amp;F)" initials="S(" userId="S::catia.ruth.sharp@mass.gov::20f7adef-f264-4529-977d-46322722f69d" providerId="AD"/>
  <p188:author id="{67040557-585E-8F8E-3F2E-3D3A3B60BAF2}" name="Bovell-Ammon, Allison (EHS)" initials="BAA(" userId="S::Allison.Bovell-Ammon@mass.gov::da08f1d4-9db9-46ed-8dfd-818427b61db8" providerId="AD"/>
  <p188:author id="{8E353758-D134-1982-8DDD-55B4327444E4}" name="Sudireddy, Sreya R (EHS)" initials="S(" userId="S::sreya.r.sudireddy@mass.gov::a07ab04d-0796-4c7c-bab9-650357b189b1" providerId="AD"/>
  <p188:author id="{FE3E8167-173F-C812-5D28-992216DB6D87}" name="Diederich, Shelagh (A&amp;F)" initials="DS(" userId="S::Shelagh.Diederich2@mass.gov::54fccb50-901a-4a30-92db-18f5bbbe264e" providerId="AD"/>
  <p188:author id="{DA13AA68-32D4-8D32-8C81-7AE93149F216}" name="Mikulis, Rick (A&amp;F)" initials="RM" userId="S::Rick.Mikulis@mass.gov::daa515be-f107-473d-92de-4c1f2f39f7b0" providerId="AD"/>
  <p188:author id="{0ECC166B-59C4-47F2-B75C-3119A6D1FE35}" name="Thompson, Chris (EOHLC)" initials="T(" userId="S::chris.thompson@mass.gov::430a30b9-3c8b-4eae-98fa-52fd2b39fea5" providerId="AD"/>
  <p188:author id="{5D0B106C-19C5-C25D-CC22-1F2C9A8B4A47}" name="Rubin, Roberta (EOHLC)" initials="R(" userId="S::roberta.rubin@mass.gov::2cbd6095-3de4-4e08-a541-e182ee3ba991" providerId="AD"/>
  <p188:author id="{7D38A573-056E-60D3-8E60-1F2A5A13B5D1}" name="Sullivan, Dana C. (ANF)" initials="DCS" userId="Sullivan, Dana C. (ANF)" providerId="None"/>
  <p188:author id="{CDD38F76-2497-DBD2-892D-FACD879E40DD}" name="Church, Susan (ORI)" initials="SC" userId="S::Susan.Church@mass.gov::601a846d-7ef2-4430-80a2-97cd593c88fa" providerId="AD"/>
  <p188:author id="{C631F979-F338-EDEB-5F1D-2578B91121E3}" name="Attia, Mark (A&amp;F)" initials="A(" userId="S::mark.attia@mass.gov::4aeb8811-86d4-4fe3-aa7a-edc5a4bee0c3" providerId="AD"/>
  <p188:author id="{FF836E7A-769F-35DD-B24D-936756E9EFFD}" name="Ordway, Alysia M (EOL)" initials="O(" userId="S::alysia.m.ordway@mass.gov::397ec4ef-180d-4b35-88e2-00d8f30a1fdd" providerId="AD"/>
  <p188:author id="{06FE997A-EDA5-0730-2FB2-FEDDDB50AD9E}" name="Vargas, Anny M (ORI)" initials="AV" userId="S::Anny.M.Vargas@mass.gov::c1b0c30b-2fda-4c07-9aaf-b3d10e61ec86" providerId="AD"/>
  <p188:author id="{E99EAF7C-DA87-7A2E-15D2-8BCEAA3A0F4D}" name="Angelo, Fabiano F (ORI)" initials="" userId="S::Fabiano.F.Angelo@mass.gov::46217cac-8018-4313-9564-7223edfa646e" providerId="AD"/>
  <p188:author id="{5D724A7E-7E42-71AE-E626-1812BC37387F}" name="Mikulis, Rick (A&amp;F)" initials="M(" userId="S::rick.mikulis@mass.gov::daa515be-f107-473d-92de-4c1f2f39f7b0" providerId="AD"/>
  <p188:author id="{D2F9257F-A91F-3303-028F-F4BFF22A6598}" name="Higgins, Colin (EOHLC)" initials="HC(" userId="S::Colin.Higgins@mass.gov::32689617-c069-43c8-b298-a842a40b63b3" providerId="AD"/>
  <p188:author id="{8BB92082-80D1-3FCD-B425-3D7BF608B30D}" name="Henry, Arianne M (EHS)" initials="H(" userId="S::arianne.m.henry@mass.gov::ca456296-c955-4a12-b117-6912d5e022cf" providerId="AD"/>
  <p188:author id="{10634585-942A-9061-F196-C16539795295}" name="Tisinger, Katie (A&amp;F)" initials="KT" userId="S::Katie.Tisinger@mass.gov::b780e063-053f-4353-8f63-23391e333ac0" providerId="AD"/>
  <p188:author id="{C3C4CE85-5877-A493-6525-23CB32EB9B66}" name="Michael Kelleher" initials="MK" userId="S::Michael@smartelliestrategies.com::be76b987-db82-474a-9f33-a48ea28c4cd5" providerId="AD"/>
  <p188:author id="{97373987-C03B-5991-11D1-826281BF18C6}" name="Coolidge, Noah (VET)" initials="C(" userId="S::noah.coolidge@mass.gov::7163ba84-40f8-4764-8b66-e2530918ca2c" providerId="AD"/>
  <p188:author id="{A6C22E8F-3CAE-655A-6CD5-05E1390BC8DA}" name="Hobby, Imogen (A&amp;F)" initials="H(" userId="S::imogen.hobby@mass.gov::3f5a7441-bac6-4a5b-9ee2-f3a0a42d4e24" providerId="AD"/>
  <p188:author id="{0EF25F92-2E68-8B58-DE42-0973B6416D2E}" name="Rowan, Angela" initials="RA" userId="S::angela.rowan@accenture.com::b91cf4de-41d6-457a-ac3b-ccab2f514b27" providerId="AD"/>
  <p188:author id="{E2B7F092-4256-3BE0-720A-67B5D0A3E835}" name="Leon, Carol Q (ORI)" initials="L(" userId="S::carol.q.leon@mass.gov::9d17cd82-9a2e-4f96-8790-6c2a4b79354e" providerId="AD"/>
  <p188:author id="{326D6194-D96C-E926-0C55-D7D7490DAD04}" name="Basheer, Aditya W. (A&amp;F)" initials="AB" userId="S::Aditya.W.Basheer@mass.gov::bcde0754-384d-47eb-b387-c9ec5e4f4c2c" providerId="AD"/>
  <p188:author id="{867FA194-F10B-F8FA-8F54-8F4A6E02BBC6}" name="Brown, Blair (EOE)" initials="BB" userId="S::blair.brown@Mass.gov::eaa79805-1faf-4275-89b9-c0d60f8c1510" providerId="AD"/>
  <p188:author id="{68FCB496-FE83-118D-B999-795BEB336C20}" name="Bartosch, William (EOHLC)" initials="B(" userId="S::william.bartosch@mass.gov::fd576bab-8913-41c7-892d-550d53ec4b46" providerId="AD"/>
  <p188:author id="{36AB639B-E166-9380-9F55-3ED993DE57A1}" name="Barrese, Sarah (EOHLC)" initials="BS(" userId="S::Sarah.Barrese2@mass.gov::60d0b564-cec7-47ef-b244-e30e0cfbf4b7" providerId="AD"/>
  <p188:author id="{4DB1FB9E-AD0C-C329-68AB-D6B8573AD062}" name="Angelo, Fabiano F (ORI)" initials="A(" userId="S::fabiano.f.angelo@mass.gov::46217cac-8018-4313-9564-7223edfa646e" providerId="AD"/>
  <p188:author id="{3FB0E8A3-E65F-675E-9257-9304882B5474}" name="Bresnahan, Karen (EOHLC)" initials="KB" userId="S::karen.bresnahan@mass.gov::31e138f5-f147-48e8-840d-aa3f7a4c3675" providerId="AD"/>
  <p188:author id="{C752CCA5-7AF5-D364-3402-6DA15FFE710B}" name="Cuddy, Joshua (EOHLC)" initials="JC" userId="S::Joshua.Cuddy@mass.gov::fe00c576-5af3-4d2a-ade8-c0f212999735" providerId="AD"/>
  <p188:author id="{3F0072A7-DE4C-18DF-33BA-7D4242022399}" name="Hernandez, Laura A." initials="HA" userId="S::laura.a.hernandez_accenture.com#ext#@massgov.onmicrosoft.com::8ad32f6b-e3b6-4847-b779-0409dd880d75" providerId="AD"/>
  <p188:author id="{924EFEAB-319C-4551-0945-BCC4C19354D9}" name="Griffin, Virginia K (EOHLC)" initials="G(" userId="S::virginia.k.griffin@mass.gov::a594d9b0-7e18-4b2e-b9d1-d978910f4587" providerId="AD"/>
  <p188:author id="{BA1C07B4-B3FF-6185-DDCB-38726D3D7E82}" name="Cohen, Jesse (EOHLC)" initials="C(" userId="S::jesse.cohen@mass.gov::de239717-22e7-44d6-95d4-dec19091c871" providerId="AD"/>
  <p188:author id="{75B07CB6-23EE-975C-A338-1FF46C62EA34}" name="Leon, Carol Q (ORI)" initials="CL" userId="S::Carol.Q.Leon@mass.gov::9d17cd82-9a2e-4f96-8790-6c2a4b79354e" providerId="AD"/>
  <p188:author id="{55EE59BD-BCB4-A911-1C1D-8CE3B3BDD213}" name="Arnold, Alyssa" initials="AA" userId="S::alyssa.arnold_accenture.com#ext#@massgov.onmicrosoft.com::3e32abec-d322-4e2b-b710-a421dd96ada6" providerId="AD"/>
  <p188:author id="{BBE83BBE-B2D6-5B34-E5AA-5ED27F9B9525}" name="Sharp, Catia Ruth (A&amp;F)" initials="CS" userId="S::Catia.Ruth.Sharp@mass.gov::20f7adef-f264-4529-977d-46322722f69d" providerId="AD"/>
  <p188:author id="{442E55BF-A777-3AB3-F84E-016014610B67}" name="Bovell-Ammon, Allison (EHS)" initials="B(" userId="S::allison.bovell-ammon@mass.gov::da08f1d4-9db9-46ed-8dfd-818427b61db8" providerId="AD"/>
  <p188:author id="{B33EFEC2-470B-9C22-B604-153F5725953A}" name="Gray, Caroline G. (A&amp;F)" initials="CG" userId="S::Caroline.G.Gray@mass.gov::5d58790b-cb9a-45d4-9b49-9d0eb918a437" providerId="AD"/>
  <p188:author id="{A6D7C8D1-E64A-FA0F-4695-073BDEEBD3AB}" name="Higgins, Colin (EOHLC)" initials="H(" userId="S::colin.higgins@mass.gov::32689617-c069-43c8-b298-a842a40b63b3" providerId="AD"/>
  <p188:author id="{A3CEDEDB-D792-7CB2-9FF6-D9C014977D0B}" name="Church, Susan (ORI)" initials="C(" userId="S::susan.church@mass.gov::601a846d-7ef2-4430-80a2-97cd593c88fa" providerId="AD"/>
  <p188:author id="{5B6282E4-328C-95C6-0EEE-93E1EB5BFD61}" name="Connors, Kaitlyn (A&amp;F)" initials="CK(" userId="S::Kaitlyn.Connors@mass.gov::40e30303-1c2c-4e3c-8345-7c82e4704ecd" providerId="AD"/>
  <p188:author id="{DB79B8EA-D0D3-48C8-9D92-03B1B9F0865D}" name="Zuppa, Heather (EOHLC)" initials="Z(" userId="S::heather.zuppa@mass.gov::9fb7cd31-ce9e-4d49-b8dd-36aea4e3fbbb" providerId="AD"/>
  <p188:author id="{565AE5F2-66BC-A6D9-4220-0190E0EA2B37}" name="McElderry, Kristin" initials="MK" userId="S::kristin.mcelderry@accenture.com::44961bcc-41a6-42d5-9c42-800ca24772a9" providerId="AD"/>
  <p188:author id="{B12383F5-46AC-081A-8C06-692FA050966D}" name="Boyle, Sharon (EHS)" initials="SB" userId="S::sharon.c.boyle@mass.gov::8b469dec-7147-429f-b0ee-5d8ba48dc37e" providerId="AD"/>
  <p188:author id="{65DE8CF9-4FC8-1C46-9251-03BCBFA0557B}" name="Arnold, Alyssa" initials="AA" userId="S::alyssa.arnold@accenture.com::ce62e9f6-e726-4af8-83ea-7fa9fe393748" providerId="AD"/>
  <p188:author id="{4A2A15FD-AA72-1C3B-06DC-60FE018EE2A9}" name="Brown, Blair (EOE)" initials="B(" userId="S::blair.brown@mass.gov::eaa79805-1faf-4275-89b9-c0d60f8c1510" providerId="AD"/>
  <p188:author id="{3C6D96FE-9A4C-F934-EE41-882DD1399D63}" name="Millar, Ronnie (EHS)" initials="M(" userId="S::ronnie.millar@mass.gov::92f2ae28-bdfc-46a6-bf3c-b5b4f3405b9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9EC"/>
    <a:srgbClr val="00B050"/>
    <a:srgbClr val="FFFF00"/>
    <a:srgbClr val="FFC000"/>
    <a:srgbClr val="4F81BD"/>
    <a:srgbClr val="CD0D0D"/>
    <a:srgbClr val="FFFFFF"/>
    <a:srgbClr val="D2ECDC"/>
    <a:srgbClr val="14558F"/>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F4DB2D-4877-4CB5-9C1D-838DDC2448F3}" v="111" dt="2025-10-03T15:16:55.3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notesMaster" Target="notesMasters/notes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Master" Target="slideMasters/slideMaster5.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urch, Susan (ORI)" userId="601a846d-7ef2-4430-80a2-97cd593c88fa" providerId="ADAL" clId="{B4F4DB2D-4877-4CB5-9C1D-838DDC2448F3}"/>
    <pc:docChg chg="custSel addSld delSld modSld sldOrd">
      <pc:chgData name="Church, Susan (ORI)" userId="601a846d-7ef2-4430-80a2-97cd593c88fa" providerId="ADAL" clId="{B4F4DB2D-4877-4CB5-9C1D-838DDC2448F3}" dt="2025-10-03T15:16:37.472" v="804" actId="20577"/>
      <pc:docMkLst>
        <pc:docMk/>
      </pc:docMkLst>
      <pc:sldChg chg="modSp mod">
        <pc:chgData name="Church, Susan (ORI)" userId="601a846d-7ef2-4430-80a2-97cd593c88fa" providerId="ADAL" clId="{B4F4DB2D-4877-4CB5-9C1D-838DDC2448F3}" dt="2025-09-25T14:28:15.457" v="27" actId="20577"/>
        <pc:sldMkLst>
          <pc:docMk/>
          <pc:sldMk cId="3478059120" sldId="266"/>
        </pc:sldMkLst>
        <pc:spChg chg="mod">
          <ac:chgData name="Church, Susan (ORI)" userId="601a846d-7ef2-4430-80a2-97cd593c88fa" providerId="ADAL" clId="{B4F4DB2D-4877-4CB5-9C1D-838DDC2448F3}" dt="2025-09-25T14:28:15.457" v="27" actId="20577"/>
          <ac:spMkLst>
            <pc:docMk/>
            <pc:sldMk cId="3478059120" sldId="266"/>
            <ac:spMk id="3" creationId="{E3871588-7B1E-FD9D-A837-EE378E01D81F}"/>
          </ac:spMkLst>
        </pc:spChg>
      </pc:sldChg>
      <pc:sldChg chg="ord">
        <pc:chgData name="Church, Susan (ORI)" userId="601a846d-7ef2-4430-80a2-97cd593c88fa" providerId="ADAL" clId="{B4F4DB2D-4877-4CB5-9C1D-838DDC2448F3}" dt="2025-10-03T15:16:13.476" v="792"/>
        <pc:sldMkLst>
          <pc:docMk/>
          <pc:sldMk cId="2548875636" sldId="2147481558"/>
        </pc:sldMkLst>
      </pc:sldChg>
      <pc:sldChg chg="del">
        <pc:chgData name="Church, Susan (ORI)" userId="601a846d-7ef2-4430-80a2-97cd593c88fa" providerId="ADAL" clId="{B4F4DB2D-4877-4CB5-9C1D-838DDC2448F3}" dt="2025-09-25T14:26:47.050" v="0" actId="2696"/>
        <pc:sldMkLst>
          <pc:docMk/>
          <pc:sldMk cId="611092579" sldId="2147481579"/>
        </pc:sldMkLst>
      </pc:sldChg>
      <pc:sldChg chg="modSp">
        <pc:chgData name="Church, Susan (ORI)" userId="601a846d-7ef2-4430-80a2-97cd593c88fa" providerId="ADAL" clId="{B4F4DB2D-4877-4CB5-9C1D-838DDC2448F3}" dt="2025-10-03T15:16:37.472" v="804" actId="20577"/>
        <pc:sldMkLst>
          <pc:docMk/>
          <pc:sldMk cId="2942475198" sldId="2147481591"/>
        </pc:sldMkLst>
        <pc:graphicFrameChg chg="mod">
          <ac:chgData name="Church, Susan (ORI)" userId="601a846d-7ef2-4430-80a2-97cd593c88fa" providerId="ADAL" clId="{B4F4DB2D-4877-4CB5-9C1D-838DDC2448F3}" dt="2025-10-03T15:16:37.472" v="804" actId="20577"/>
          <ac:graphicFrameMkLst>
            <pc:docMk/>
            <pc:sldMk cId="2942475198" sldId="2147481591"/>
            <ac:graphicFrameMk id="5" creationId="{90AEF9B1-D7F5-9D80-BE0E-20EB4457C2FE}"/>
          </ac:graphicFrameMkLst>
        </pc:graphicFrameChg>
      </pc:sldChg>
      <pc:sldChg chg="add">
        <pc:chgData name="Church, Susan (ORI)" userId="601a846d-7ef2-4430-80a2-97cd593c88fa" providerId="ADAL" clId="{B4F4DB2D-4877-4CB5-9C1D-838DDC2448F3}" dt="2025-10-03T15:16:20.632" v="793"/>
        <pc:sldMkLst>
          <pc:docMk/>
          <pc:sldMk cId="3519553736" sldId="2147481625"/>
        </pc:sldMkLst>
      </pc:sldChg>
      <pc:sldChg chg="add">
        <pc:chgData name="Church, Susan (ORI)" userId="601a846d-7ef2-4430-80a2-97cd593c88fa" providerId="ADAL" clId="{B4F4DB2D-4877-4CB5-9C1D-838DDC2448F3}" dt="2025-10-03T15:16:20.632" v="793"/>
        <pc:sldMkLst>
          <pc:docMk/>
          <pc:sldMk cId="2648105801" sldId="2147481626"/>
        </pc:sldMkLst>
      </pc:sldChg>
      <pc:sldChg chg="del">
        <pc:chgData name="Church, Susan (ORI)" userId="601a846d-7ef2-4430-80a2-97cd593c88fa" providerId="ADAL" clId="{B4F4DB2D-4877-4CB5-9C1D-838DDC2448F3}" dt="2025-09-25T14:26:51.847" v="1" actId="2696"/>
        <pc:sldMkLst>
          <pc:docMk/>
          <pc:sldMk cId="3754058184" sldId="2147481627"/>
        </pc:sldMkLst>
      </pc:sldChg>
      <pc:sldChg chg="del">
        <pc:chgData name="Church, Susan (ORI)" userId="601a846d-7ef2-4430-80a2-97cd593c88fa" providerId="ADAL" clId="{B4F4DB2D-4877-4CB5-9C1D-838DDC2448F3}" dt="2025-09-25T14:26:56.889" v="2" actId="2696"/>
        <pc:sldMkLst>
          <pc:docMk/>
          <pc:sldMk cId="2662687162" sldId="2147483632"/>
        </pc:sldMkLst>
      </pc:sldChg>
      <pc:sldChg chg="del mod modShow">
        <pc:chgData name="Church, Susan (ORI)" userId="601a846d-7ef2-4430-80a2-97cd593c88fa" providerId="ADAL" clId="{B4F4DB2D-4877-4CB5-9C1D-838DDC2448F3}" dt="2025-09-30T14:54:22.998" v="695" actId="2696"/>
        <pc:sldMkLst>
          <pc:docMk/>
          <pc:sldMk cId="1852044986" sldId="2147483634"/>
        </pc:sldMkLst>
      </pc:sldChg>
      <pc:sldChg chg="addSp delSp modSp new del mod modClrScheme chgLayout">
        <pc:chgData name="Church, Susan (ORI)" userId="601a846d-7ef2-4430-80a2-97cd593c88fa" providerId="ADAL" clId="{B4F4DB2D-4877-4CB5-9C1D-838DDC2448F3}" dt="2025-09-30T14:54:17.645" v="694" actId="2696"/>
        <pc:sldMkLst>
          <pc:docMk/>
          <pc:sldMk cId="3541138100" sldId="2147483636"/>
        </pc:sldMkLst>
      </pc:sldChg>
      <pc:sldChg chg="modSp add del">
        <pc:chgData name="Church, Susan (ORI)" userId="601a846d-7ef2-4430-80a2-97cd593c88fa" providerId="ADAL" clId="{B4F4DB2D-4877-4CB5-9C1D-838DDC2448F3}" dt="2025-10-03T15:13:42.206" v="787" actId="2696"/>
        <pc:sldMkLst>
          <pc:docMk/>
          <pc:sldMk cId="682467852" sldId="2147483637"/>
        </pc:sldMkLst>
        <pc:graphicFrameChg chg="mod">
          <ac:chgData name="Church, Susan (ORI)" userId="601a846d-7ef2-4430-80a2-97cd593c88fa" providerId="ADAL" clId="{B4F4DB2D-4877-4CB5-9C1D-838DDC2448F3}" dt="2025-10-02T18:15:35.608" v="785" actId="20577"/>
          <ac:graphicFrameMkLst>
            <pc:docMk/>
            <pc:sldMk cId="682467852" sldId="2147483637"/>
            <ac:graphicFrameMk id="10" creationId="{0AFEC0FA-ED72-5BFF-43DB-0CA757A6A0D2}"/>
          </ac:graphicFrameMkLst>
        </pc:graphicFrameChg>
      </pc:sldChg>
      <pc:sldChg chg="add">
        <pc:chgData name="Church, Susan (ORI)" userId="601a846d-7ef2-4430-80a2-97cd593c88fa" providerId="ADAL" clId="{B4F4DB2D-4877-4CB5-9C1D-838DDC2448F3}" dt="2025-10-03T15:15:30.478" v="790"/>
        <pc:sldMkLst>
          <pc:docMk/>
          <pc:sldMk cId="4191348507" sldId="2147483637"/>
        </pc:sldMkLst>
      </pc:sldChg>
      <pc:sldChg chg="add">
        <pc:chgData name="Church, Susan (ORI)" userId="601a846d-7ef2-4430-80a2-97cd593c88fa" providerId="ADAL" clId="{B4F4DB2D-4877-4CB5-9C1D-838DDC2448F3}" dt="2025-10-03T15:13:17.330" v="786"/>
        <pc:sldMkLst>
          <pc:docMk/>
          <pc:sldMk cId="3221136860" sldId="2147483638"/>
        </pc:sldMkLst>
      </pc:sldChg>
      <pc:sldChg chg="add">
        <pc:chgData name="Church, Susan (ORI)" userId="601a846d-7ef2-4430-80a2-97cd593c88fa" providerId="ADAL" clId="{B4F4DB2D-4877-4CB5-9C1D-838DDC2448F3}" dt="2025-10-03T15:14:39.467" v="789"/>
        <pc:sldMkLst>
          <pc:docMk/>
          <pc:sldMk cId="2967209058" sldId="2147483639"/>
        </pc:sldMkLst>
      </pc:sldChg>
      <pc:sldChg chg="add">
        <pc:chgData name="Church, Susan (ORI)" userId="601a846d-7ef2-4430-80a2-97cd593c88fa" providerId="ADAL" clId="{B4F4DB2D-4877-4CB5-9C1D-838DDC2448F3}" dt="2025-10-03T15:14:11.936" v="788"/>
        <pc:sldMkLst>
          <pc:docMk/>
          <pc:sldMk cId="1289294001" sldId="2147483642"/>
        </pc:sldMkLst>
      </pc:sldChg>
    </pc:docChg>
  </pc:docChgLst>
</pc:chgInfo>
</file>

<file path=ppt/comments/modernComment_10A_CF4EF870.xml><?xml version="1.0" encoding="utf-8"?>
<p188:cmLst xmlns:a="http://schemas.openxmlformats.org/drawingml/2006/main" xmlns:r="http://schemas.openxmlformats.org/officeDocument/2006/relationships" xmlns:p188="http://schemas.microsoft.com/office/powerpoint/2018/8/main">
  <p188:cm id="{7EF77191-7797-4D82-A97D-5E97C9154E58}" authorId="{A9D1AD34-238F-1760-091B-326F63184C8E}" status="resolved" created="2025-09-17T19:14:57.151" complete="100000">
    <pc:sldMkLst xmlns:pc="http://schemas.microsoft.com/office/powerpoint/2013/main/command">
      <pc:docMk/>
      <pc:sldMk cId="3478059120" sldId="266"/>
    </pc:sldMkLst>
    <p188:txBody>
      <a:bodyPr/>
      <a:lstStyle/>
      <a:p>
        <a:r>
          <a:rPr lang="en-US"/>
          <a:t>For the final bullet - Perhaps “should” rather than “will”</a:t>
        </a:r>
      </a:p>
    </p188:txBody>
  </p188:cm>
</p188:cmLst>
</file>

<file path=ppt/diagrams/_rels/data12.xml.rels><?xml version="1.0" encoding="UTF-8" standalone="yes"?>
<Relationships xmlns="http://schemas.openxmlformats.org/package/2006/relationships"><Relationship Id="rId3" Type="http://schemas.openxmlformats.org/officeDocument/2006/relationships/hyperlink" Target="https://miracoalition.org/news/immigration-helpline/" TargetMode="External"/><Relationship Id="rId2" Type="http://schemas.openxmlformats.org/officeDocument/2006/relationships/hyperlink" Target="https://www.boston.gov/departments/immigrant-advancement/free-immigration-consultations" TargetMode="External"/><Relationship Id="rId1" Type="http://schemas.openxmlformats.org/officeDocument/2006/relationships/hyperlink" Target="https://www.immigrationadvocates.org/legaldirectory/" TargetMode="External"/><Relationship Id="rId5" Type="http://schemas.openxmlformats.org/officeDocument/2006/relationships/hyperlink" Target="https://www.mass.gov/info-details/immigration-legal-support#free-immigration-legal-clinics" TargetMode="External"/><Relationship Id="rId4" Type="http://schemas.openxmlformats.org/officeDocument/2006/relationships/hyperlink" Target="https://masslrf.org/en/home" TargetMode="External"/></Relationships>
</file>

<file path=ppt/diagrams/_rels/drawing12.xml.rels><?xml version="1.0" encoding="UTF-8" standalone="yes"?>
<Relationships xmlns="http://schemas.openxmlformats.org/package/2006/relationships"><Relationship Id="rId3" Type="http://schemas.openxmlformats.org/officeDocument/2006/relationships/hyperlink" Target="https://www.boston.gov/departments/immigrant-advancement/free-immigration-consultations" TargetMode="External"/><Relationship Id="rId2" Type="http://schemas.openxmlformats.org/officeDocument/2006/relationships/hyperlink" Target="https://www.mass.gov/info-details/immigration-legal-support#free-immigration-legal-clinics" TargetMode="External"/><Relationship Id="rId1" Type="http://schemas.openxmlformats.org/officeDocument/2006/relationships/hyperlink" Target="https://masslrf.org/en/home" TargetMode="External"/><Relationship Id="rId5" Type="http://schemas.openxmlformats.org/officeDocument/2006/relationships/hyperlink" Target="https://www.immigrationadvocates.org/legaldirectory/" TargetMode="External"/><Relationship Id="rId4" Type="http://schemas.openxmlformats.org/officeDocument/2006/relationships/hyperlink" Target="https://miracoalition.org/news/immigration-helplin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418B11-C8EE-4CEB-B740-5635AFDAA14C}" type="doc">
      <dgm:prSet loTypeId="urn:microsoft.com/office/officeart/2016/7/layout/BasicProcessNew" loCatId="process" qsTypeId="urn:microsoft.com/office/officeart/2005/8/quickstyle/simple4" qsCatId="simple" csTypeId="urn:microsoft.com/office/officeart/2005/8/colors/accent1_2" csCatId="accent1" phldr="1"/>
      <dgm:spPr/>
      <dgm:t>
        <a:bodyPr/>
        <a:lstStyle/>
        <a:p>
          <a:endParaRPr lang="en-US"/>
        </a:p>
      </dgm:t>
    </dgm:pt>
    <dgm:pt modelId="{D1C47AC9-8A1B-41D2-857E-CEEF001D4D1D}">
      <dgm:prSet/>
      <dgm:spPr/>
      <dgm:t>
        <a:bodyPr/>
        <a:lstStyle/>
        <a:p>
          <a:r>
            <a:rPr lang="en-US"/>
            <a:t>ICE is a federal law enforcement agency</a:t>
          </a:r>
        </a:p>
      </dgm:t>
    </dgm:pt>
    <dgm:pt modelId="{7A938250-C9BC-4C05-9D5F-E44D76EA0CD3}" type="parTrans" cxnId="{C6BF2B3B-C7BA-4A40-97F0-9AE50B935E69}">
      <dgm:prSet/>
      <dgm:spPr/>
      <dgm:t>
        <a:bodyPr/>
        <a:lstStyle/>
        <a:p>
          <a:endParaRPr lang="en-US"/>
        </a:p>
      </dgm:t>
    </dgm:pt>
    <dgm:pt modelId="{AACB6474-0879-4AEA-A24D-8530E46AEB3F}" type="sibTrans" cxnId="{C6BF2B3B-C7BA-4A40-97F0-9AE50B935E69}">
      <dgm:prSet/>
      <dgm:spPr/>
      <dgm:t>
        <a:bodyPr/>
        <a:lstStyle/>
        <a:p>
          <a:endParaRPr lang="en-US"/>
        </a:p>
      </dgm:t>
    </dgm:pt>
    <dgm:pt modelId="{AEB27A71-CBA7-4B79-9CD7-4AD90367211E}">
      <dgm:prSet/>
      <dgm:spPr/>
      <dgm:t>
        <a:bodyPr/>
        <a:lstStyle/>
        <a:p>
          <a:r>
            <a:rPr lang="en-US"/>
            <a:t>ICE’s authority is generally limited to immigration related enforcement, unless acting in concert with federal or state law enforcement, or investigating crimes through ICE criminal investigative units</a:t>
          </a:r>
        </a:p>
        <a:p>
          <a:endParaRPr lang="en-US"/>
        </a:p>
      </dgm:t>
    </dgm:pt>
    <dgm:pt modelId="{FAF34C21-46D4-49E7-BDAC-104C82B06942}" type="parTrans" cxnId="{8DF483C4-141E-4607-8C1A-2B43053041D8}">
      <dgm:prSet/>
      <dgm:spPr/>
      <dgm:t>
        <a:bodyPr/>
        <a:lstStyle/>
        <a:p>
          <a:endParaRPr lang="en-US"/>
        </a:p>
      </dgm:t>
    </dgm:pt>
    <dgm:pt modelId="{39ECF8DE-ADC2-447C-8EB2-92A68FC43B0D}" type="sibTrans" cxnId="{8DF483C4-141E-4607-8C1A-2B43053041D8}">
      <dgm:prSet/>
      <dgm:spPr/>
      <dgm:t>
        <a:bodyPr/>
        <a:lstStyle/>
        <a:p>
          <a:endParaRPr lang="en-US"/>
        </a:p>
      </dgm:t>
    </dgm:pt>
    <dgm:pt modelId="{DCEF5472-C832-4159-AA40-3056FFC4B150}" type="pres">
      <dgm:prSet presAssocID="{F1418B11-C8EE-4CEB-B740-5635AFDAA14C}" presName="Name0" presStyleCnt="0">
        <dgm:presLayoutVars>
          <dgm:dir/>
          <dgm:resizeHandles val="exact"/>
        </dgm:presLayoutVars>
      </dgm:prSet>
      <dgm:spPr/>
    </dgm:pt>
    <dgm:pt modelId="{09C70C5B-C07F-494A-8AB6-DE347B2DD857}" type="pres">
      <dgm:prSet presAssocID="{D1C47AC9-8A1B-41D2-857E-CEEF001D4D1D}" presName="node" presStyleLbl="node1" presStyleIdx="0" presStyleCnt="3" custScaleX="101344" custScaleY="266744">
        <dgm:presLayoutVars>
          <dgm:bulletEnabled val="1"/>
        </dgm:presLayoutVars>
      </dgm:prSet>
      <dgm:spPr/>
    </dgm:pt>
    <dgm:pt modelId="{E5D25FA5-B933-43B5-BF16-E9EA35915A09}" type="pres">
      <dgm:prSet presAssocID="{AACB6474-0879-4AEA-A24D-8530E46AEB3F}" presName="sibTransSpacerBeforeConnector" presStyleCnt="0"/>
      <dgm:spPr/>
    </dgm:pt>
    <dgm:pt modelId="{C50C822B-C998-4BD9-93AF-781C0C535479}" type="pres">
      <dgm:prSet presAssocID="{AACB6474-0879-4AEA-A24D-8530E46AEB3F}" presName="sibTrans" presStyleLbl="node1" presStyleIdx="1" presStyleCnt="3"/>
      <dgm:spPr/>
    </dgm:pt>
    <dgm:pt modelId="{A8ED7BBB-70C8-43B9-9214-565F439087AB}" type="pres">
      <dgm:prSet presAssocID="{AACB6474-0879-4AEA-A24D-8530E46AEB3F}" presName="sibTransSpacerAfterConnector" presStyleCnt="0"/>
      <dgm:spPr/>
    </dgm:pt>
    <dgm:pt modelId="{C016C784-A17F-4AF3-9B53-605821B4F6E9}" type="pres">
      <dgm:prSet presAssocID="{AEB27A71-CBA7-4B79-9CD7-4AD90367211E}" presName="node" presStyleLbl="node1" presStyleIdx="2" presStyleCnt="3" custScaleY="261106">
        <dgm:presLayoutVars>
          <dgm:bulletEnabled val="1"/>
        </dgm:presLayoutVars>
      </dgm:prSet>
      <dgm:spPr/>
    </dgm:pt>
  </dgm:ptLst>
  <dgm:cxnLst>
    <dgm:cxn modelId="{6B822605-778C-4D4F-8D83-F53B175ABFB2}" type="presOf" srcId="{D1C47AC9-8A1B-41D2-857E-CEEF001D4D1D}" destId="{09C70C5B-C07F-494A-8AB6-DE347B2DD857}" srcOrd="0" destOrd="0" presId="urn:microsoft.com/office/officeart/2016/7/layout/BasicProcessNew"/>
    <dgm:cxn modelId="{E85C7036-889B-4E7C-9FE6-61691FFBB6AA}" type="presOf" srcId="{F1418B11-C8EE-4CEB-B740-5635AFDAA14C}" destId="{DCEF5472-C832-4159-AA40-3056FFC4B150}" srcOrd="0" destOrd="0" presId="urn:microsoft.com/office/officeart/2016/7/layout/BasicProcessNew"/>
    <dgm:cxn modelId="{C6BF2B3B-C7BA-4A40-97F0-9AE50B935E69}" srcId="{F1418B11-C8EE-4CEB-B740-5635AFDAA14C}" destId="{D1C47AC9-8A1B-41D2-857E-CEEF001D4D1D}" srcOrd="0" destOrd="0" parTransId="{7A938250-C9BC-4C05-9D5F-E44D76EA0CD3}" sibTransId="{AACB6474-0879-4AEA-A24D-8530E46AEB3F}"/>
    <dgm:cxn modelId="{CB86B685-6757-4C5D-838F-F8FF19B09FFD}" type="presOf" srcId="{AEB27A71-CBA7-4B79-9CD7-4AD90367211E}" destId="{C016C784-A17F-4AF3-9B53-605821B4F6E9}" srcOrd="0" destOrd="0" presId="urn:microsoft.com/office/officeart/2016/7/layout/BasicProcessNew"/>
    <dgm:cxn modelId="{717BA2A4-8A0F-4E58-B5D4-F1D38F2FF598}" type="presOf" srcId="{AACB6474-0879-4AEA-A24D-8530E46AEB3F}" destId="{C50C822B-C998-4BD9-93AF-781C0C535479}" srcOrd="0" destOrd="0" presId="urn:microsoft.com/office/officeart/2016/7/layout/BasicProcessNew"/>
    <dgm:cxn modelId="{8DF483C4-141E-4607-8C1A-2B43053041D8}" srcId="{F1418B11-C8EE-4CEB-B740-5635AFDAA14C}" destId="{AEB27A71-CBA7-4B79-9CD7-4AD90367211E}" srcOrd="1" destOrd="0" parTransId="{FAF34C21-46D4-49E7-BDAC-104C82B06942}" sibTransId="{39ECF8DE-ADC2-447C-8EB2-92A68FC43B0D}"/>
    <dgm:cxn modelId="{BE6E91D9-E545-4B08-8E5C-02649237731C}" type="presParOf" srcId="{DCEF5472-C832-4159-AA40-3056FFC4B150}" destId="{09C70C5B-C07F-494A-8AB6-DE347B2DD857}" srcOrd="0" destOrd="0" presId="urn:microsoft.com/office/officeart/2016/7/layout/BasicProcessNew"/>
    <dgm:cxn modelId="{C574957E-1DAC-491E-BF02-BA394F60234E}" type="presParOf" srcId="{DCEF5472-C832-4159-AA40-3056FFC4B150}" destId="{E5D25FA5-B933-43B5-BF16-E9EA35915A09}" srcOrd="1" destOrd="0" presId="urn:microsoft.com/office/officeart/2016/7/layout/BasicProcessNew"/>
    <dgm:cxn modelId="{911C03BE-1F78-46EC-8E78-1BC1436864D5}" type="presParOf" srcId="{DCEF5472-C832-4159-AA40-3056FFC4B150}" destId="{C50C822B-C998-4BD9-93AF-781C0C535479}" srcOrd="2" destOrd="0" presId="urn:microsoft.com/office/officeart/2016/7/layout/BasicProcessNew"/>
    <dgm:cxn modelId="{3B04A67F-A4F6-42FD-A2D7-7488717D1B69}" type="presParOf" srcId="{DCEF5472-C832-4159-AA40-3056FFC4B150}" destId="{A8ED7BBB-70C8-43B9-9214-565F439087AB}" srcOrd="3" destOrd="0" presId="urn:microsoft.com/office/officeart/2016/7/layout/BasicProcessNew"/>
    <dgm:cxn modelId="{E872397F-1033-454D-81AB-2BC50682024A}" type="presParOf" srcId="{DCEF5472-C832-4159-AA40-3056FFC4B150}" destId="{C016C784-A17F-4AF3-9B53-605821B4F6E9}" srcOrd="4" destOrd="0" presId="urn:microsoft.com/office/officeart/2016/7/layout/Basic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2454B76-0399-474D-909C-FE07DCECA0A2}" type="doc">
      <dgm:prSet loTypeId="urn:microsoft.com/office/officeart/2005/8/layout/vProcess5" loCatId="process" qsTypeId="urn:microsoft.com/office/officeart/2005/8/quickstyle/simple1" qsCatId="simple" csTypeId="urn:microsoft.com/office/officeart/2005/8/colors/accent1_2" csCatId="accent1"/>
      <dgm:spPr/>
      <dgm:t>
        <a:bodyPr/>
        <a:lstStyle/>
        <a:p>
          <a:endParaRPr lang="en-US"/>
        </a:p>
      </dgm:t>
    </dgm:pt>
    <dgm:pt modelId="{906FF93A-3AB1-49C4-AF7C-3B757A7FFAC4}">
      <dgm:prSet/>
      <dgm:spPr/>
      <dgm:t>
        <a:bodyPr/>
        <a:lstStyle/>
        <a:p>
          <a:r>
            <a:rPr lang="en-US" b="0" i="0" baseline="0"/>
            <a:t>The Attorney General's office along with ORI’s support, funded and created the “Legal Representation Fund” or LRF</a:t>
          </a:r>
          <a:endParaRPr lang="en-US"/>
        </a:p>
      </dgm:t>
    </dgm:pt>
    <dgm:pt modelId="{91941622-5C4A-41FE-BFED-73EE35BB9152}" type="parTrans" cxnId="{67F48A17-1128-4185-880A-A74FF9DEB901}">
      <dgm:prSet/>
      <dgm:spPr/>
      <dgm:t>
        <a:bodyPr/>
        <a:lstStyle/>
        <a:p>
          <a:endParaRPr lang="en-US"/>
        </a:p>
      </dgm:t>
    </dgm:pt>
    <dgm:pt modelId="{DEE3F909-E0E9-42A4-A80B-1E4CF3CD6705}" type="sibTrans" cxnId="{67F48A17-1128-4185-880A-A74FF9DEB901}">
      <dgm:prSet/>
      <dgm:spPr/>
      <dgm:t>
        <a:bodyPr/>
        <a:lstStyle/>
        <a:p>
          <a:endParaRPr lang="en-US"/>
        </a:p>
      </dgm:t>
    </dgm:pt>
    <dgm:pt modelId="{5B20666A-5D5E-42DE-A675-8952748BD06B}">
      <dgm:prSet/>
      <dgm:spPr/>
      <dgm:t>
        <a:bodyPr/>
        <a:lstStyle/>
        <a:p>
          <a:r>
            <a:rPr lang="en-US" b="0" i="0" baseline="0"/>
            <a:t>Boston Immigration Justice Accompaniment Network (BIJAN) &amp; the Beyond Bond and Legal Defense Fund (BBLDF) organizes the LFR.</a:t>
          </a:r>
          <a:endParaRPr lang="en-US"/>
        </a:p>
      </dgm:t>
    </dgm:pt>
    <dgm:pt modelId="{DF967DF0-09C1-4541-A163-A26921195541}" type="parTrans" cxnId="{203AC9AC-EFDD-487B-9170-137118BFC3EA}">
      <dgm:prSet/>
      <dgm:spPr/>
      <dgm:t>
        <a:bodyPr/>
        <a:lstStyle/>
        <a:p>
          <a:endParaRPr lang="en-US"/>
        </a:p>
      </dgm:t>
    </dgm:pt>
    <dgm:pt modelId="{D31DA586-1B74-4156-8D76-E01E0EAC9DCE}" type="sibTrans" cxnId="{203AC9AC-EFDD-487B-9170-137118BFC3EA}">
      <dgm:prSet/>
      <dgm:spPr/>
      <dgm:t>
        <a:bodyPr/>
        <a:lstStyle/>
        <a:p>
          <a:endParaRPr lang="en-US"/>
        </a:p>
      </dgm:t>
    </dgm:pt>
    <dgm:pt modelId="{9B57191A-A8F2-48C8-90B2-B8741E47F7D6}">
      <dgm:prSet/>
      <dgm:spPr/>
      <dgm:t>
        <a:bodyPr/>
        <a:lstStyle/>
        <a:p>
          <a:r>
            <a:rPr lang="en-US" b="0" i="0" baseline="0"/>
            <a:t>Mission: to help fund free legal representation to detained immigrants who are eligible to request an immigration bond</a:t>
          </a:r>
          <a:endParaRPr lang="en-US"/>
        </a:p>
      </dgm:t>
    </dgm:pt>
    <dgm:pt modelId="{E713319C-7462-451E-B24C-159DC79601D8}" type="parTrans" cxnId="{E8291EF5-2E94-4B5C-B1DD-9B7FE7430598}">
      <dgm:prSet/>
      <dgm:spPr/>
      <dgm:t>
        <a:bodyPr/>
        <a:lstStyle/>
        <a:p>
          <a:endParaRPr lang="en-US"/>
        </a:p>
      </dgm:t>
    </dgm:pt>
    <dgm:pt modelId="{1219DED9-8E65-4103-A09F-05F31CC0B284}" type="sibTrans" cxnId="{E8291EF5-2E94-4B5C-B1DD-9B7FE7430598}">
      <dgm:prSet/>
      <dgm:spPr/>
      <dgm:t>
        <a:bodyPr/>
        <a:lstStyle/>
        <a:p>
          <a:endParaRPr lang="en-US"/>
        </a:p>
      </dgm:t>
    </dgm:pt>
    <dgm:pt modelId="{593B85ED-BA7B-4A6B-A591-4286D9A10813}" type="pres">
      <dgm:prSet presAssocID="{62454B76-0399-474D-909C-FE07DCECA0A2}" presName="outerComposite" presStyleCnt="0">
        <dgm:presLayoutVars>
          <dgm:chMax val="5"/>
          <dgm:dir/>
          <dgm:resizeHandles val="exact"/>
        </dgm:presLayoutVars>
      </dgm:prSet>
      <dgm:spPr/>
    </dgm:pt>
    <dgm:pt modelId="{B959E46A-CDE7-4979-AF1A-71BF86E9B8CC}" type="pres">
      <dgm:prSet presAssocID="{62454B76-0399-474D-909C-FE07DCECA0A2}" presName="dummyMaxCanvas" presStyleCnt="0">
        <dgm:presLayoutVars/>
      </dgm:prSet>
      <dgm:spPr/>
    </dgm:pt>
    <dgm:pt modelId="{0656977D-B617-45BD-9F42-6E90F95FD7A4}" type="pres">
      <dgm:prSet presAssocID="{62454B76-0399-474D-909C-FE07DCECA0A2}" presName="ThreeNodes_1" presStyleLbl="node1" presStyleIdx="0" presStyleCnt="3" custLinFactNeighborY="7026">
        <dgm:presLayoutVars>
          <dgm:bulletEnabled val="1"/>
        </dgm:presLayoutVars>
      </dgm:prSet>
      <dgm:spPr/>
    </dgm:pt>
    <dgm:pt modelId="{6A02761E-0347-4B77-9741-525F625FB854}" type="pres">
      <dgm:prSet presAssocID="{62454B76-0399-474D-909C-FE07DCECA0A2}" presName="ThreeNodes_2" presStyleLbl="node1" presStyleIdx="1" presStyleCnt="3">
        <dgm:presLayoutVars>
          <dgm:bulletEnabled val="1"/>
        </dgm:presLayoutVars>
      </dgm:prSet>
      <dgm:spPr/>
    </dgm:pt>
    <dgm:pt modelId="{72A8329C-B102-4A34-B4C3-2587BC7CF4E0}" type="pres">
      <dgm:prSet presAssocID="{62454B76-0399-474D-909C-FE07DCECA0A2}" presName="ThreeNodes_3" presStyleLbl="node1" presStyleIdx="2" presStyleCnt="3">
        <dgm:presLayoutVars>
          <dgm:bulletEnabled val="1"/>
        </dgm:presLayoutVars>
      </dgm:prSet>
      <dgm:spPr/>
    </dgm:pt>
    <dgm:pt modelId="{FE01E7C3-13E8-4503-B409-1113778BB434}" type="pres">
      <dgm:prSet presAssocID="{62454B76-0399-474D-909C-FE07DCECA0A2}" presName="ThreeConn_1-2" presStyleLbl="fgAccFollowNode1" presStyleIdx="0" presStyleCnt="2">
        <dgm:presLayoutVars>
          <dgm:bulletEnabled val="1"/>
        </dgm:presLayoutVars>
      </dgm:prSet>
      <dgm:spPr/>
    </dgm:pt>
    <dgm:pt modelId="{C22D97D4-B049-47F9-AA5E-C26A8A543B37}" type="pres">
      <dgm:prSet presAssocID="{62454B76-0399-474D-909C-FE07DCECA0A2}" presName="ThreeConn_2-3" presStyleLbl="fgAccFollowNode1" presStyleIdx="1" presStyleCnt="2">
        <dgm:presLayoutVars>
          <dgm:bulletEnabled val="1"/>
        </dgm:presLayoutVars>
      </dgm:prSet>
      <dgm:spPr/>
    </dgm:pt>
    <dgm:pt modelId="{85167841-5190-4F9E-ABB2-F8749D700AA8}" type="pres">
      <dgm:prSet presAssocID="{62454B76-0399-474D-909C-FE07DCECA0A2}" presName="ThreeNodes_1_text" presStyleLbl="node1" presStyleIdx="2" presStyleCnt="3">
        <dgm:presLayoutVars>
          <dgm:bulletEnabled val="1"/>
        </dgm:presLayoutVars>
      </dgm:prSet>
      <dgm:spPr/>
    </dgm:pt>
    <dgm:pt modelId="{EEB26F6A-B07B-48F7-853C-A9E61C0580B2}" type="pres">
      <dgm:prSet presAssocID="{62454B76-0399-474D-909C-FE07DCECA0A2}" presName="ThreeNodes_2_text" presStyleLbl="node1" presStyleIdx="2" presStyleCnt="3">
        <dgm:presLayoutVars>
          <dgm:bulletEnabled val="1"/>
        </dgm:presLayoutVars>
      </dgm:prSet>
      <dgm:spPr/>
    </dgm:pt>
    <dgm:pt modelId="{126E0569-DFB8-4E32-84E4-5C5BF40FB7CE}" type="pres">
      <dgm:prSet presAssocID="{62454B76-0399-474D-909C-FE07DCECA0A2}" presName="ThreeNodes_3_text" presStyleLbl="node1" presStyleIdx="2" presStyleCnt="3">
        <dgm:presLayoutVars>
          <dgm:bulletEnabled val="1"/>
        </dgm:presLayoutVars>
      </dgm:prSet>
      <dgm:spPr/>
    </dgm:pt>
  </dgm:ptLst>
  <dgm:cxnLst>
    <dgm:cxn modelId="{67F48A17-1128-4185-880A-A74FF9DEB901}" srcId="{62454B76-0399-474D-909C-FE07DCECA0A2}" destId="{906FF93A-3AB1-49C4-AF7C-3B757A7FFAC4}" srcOrd="0" destOrd="0" parTransId="{91941622-5C4A-41FE-BFED-73EE35BB9152}" sibTransId="{DEE3F909-E0E9-42A4-A80B-1E4CF3CD6705}"/>
    <dgm:cxn modelId="{36349952-3CB0-44C3-A4E3-7AFF637B7098}" type="presOf" srcId="{906FF93A-3AB1-49C4-AF7C-3B757A7FFAC4}" destId="{0656977D-B617-45BD-9F42-6E90F95FD7A4}" srcOrd="0" destOrd="0" presId="urn:microsoft.com/office/officeart/2005/8/layout/vProcess5"/>
    <dgm:cxn modelId="{7CCAC17A-3A6C-47A2-8BA4-C9FDFD9E7A57}" type="presOf" srcId="{DEE3F909-E0E9-42A4-A80B-1E4CF3CD6705}" destId="{FE01E7C3-13E8-4503-B409-1113778BB434}" srcOrd="0" destOrd="0" presId="urn:microsoft.com/office/officeart/2005/8/layout/vProcess5"/>
    <dgm:cxn modelId="{3BE0B988-9909-462C-9FA1-958157FDB90E}" type="presOf" srcId="{5B20666A-5D5E-42DE-A675-8952748BD06B}" destId="{EEB26F6A-B07B-48F7-853C-A9E61C0580B2}" srcOrd="1" destOrd="0" presId="urn:microsoft.com/office/officeart/2005/8/layout/vProcess5"/>
    <dgm:cxn modelId="{6548B68F-3EAC-44E1-965D-344F8C08170F}" type="presOf" srcId="{5B20666A-5D5E-42DE-A675-8952748BD06B}" destId="{6A02761E-0347-4B77-9741-525F625FB854}" srcOrd="0" destOrd="0" presId="urn:microsoft.com/office/officeart/2005/8/layout/vProcess5"/>
    <dgm:cxn modelId="{917F069A-B9B2-45E5-B57A-621BD08496DC}" type="presOf" srcId="{D31DA586-1B74-4156-8D76-E01E0EAC9DCE}" destId="{C22D97D4-B049-47F9-AA5E-C26A8A543B37}" srcOrd="0" destOrd="0" presId="urn:microsoft.com/office/officeart/2005/8/layout/vProcess5"/>
    <dgm:cxn modelId="{0663E7A3-8EBB-468A-B868-4E731DD2E3A1}" type="presOf" srcId="{9B57191A-A8F2-48C8-90B2-B8741E47F7D6}" destId="{72A8329C-B102-4A34-B4C3-2587BC7CF4E0}" srcOrd="0" destOrd="0" presId="urn:microsoft.com/office/officeart/2005/8/layout/vProcess5"/>
    <dgm:cxn modelId="{203AC9AC-EFDD-487B-9170-137118BFC3EA}" srcId="{62454B76-0399-474D-909C-FE07DCECA0A2}" destId="{5B20666A-5D5E-42DE-A675-8952748BD06B}" srcOrd="1" destOrd="0" parTransId="{DF967DF0-09C1-4541-A163-A26921195541}" sibTransId="{D31DA586-1B74-4156-8D76-E01E0EAC9DCE}"/>
    <dgm:cxn modelId="{F7D902C8-7E6F-49BA-B0DE-6B413BDBAEC5}" type="presOf" srcId="{62454B76-0399-474D-909C-FE07DCECA0A2}" destId="{593B85ED-BA7B-4A6B-A591-4286D9A10813}" srcOrd="0" destOrd="0" presId="urn:microsoft.com/office/officeart/2005/8/layout/vProcess5"/>
    <dgm:cxn modelId="{DF20B8C9-C685-4004-904F-C8986FF2D69C}" type="presOf" srcId="{906FF93A-3AB1-49C4-AF7C-3B757A7FFAC4}" destId="{85167841-5190-4F9E-ABB2-F8749D700AA8}" srcOrd="1" destOrd="0" presId="urn:microsoft.com/office/officeart/2005/8/layout/vProcess5"/>
    <dgm:cxn modelId="{7D186FD1-7CFD-4CB9-8504-1642C2D9CDB2}" type="presOf" srcId="{9B57191A-A8F2-48C8-90B2-B8741E47F7D6}" destId="{126E0569-DFB8-4E32-84E4-5C5BF40FB7CE}" srcOrd="1" destOrd="0" presId="urn:microsoft.com/office/officeart/2005/8/layout/vProcess5"/>
    <dgm:cxn modelId="{E8291EF5-2E94-4B5C-B1DD-9B7FE7430598}" srcId="{62454B76-0399-474D-909C-FE07DCECA0A2}" destId="{9B57191A-A8F2-48C8-90B2-B8741E47F7D6}" srcOrd="2" destOrd="0" parTransId="{E713319C-7462-451E-B24C-159DC79601D8}" sibTransId="{1219DED9-8E65-4103-A09F-05F31CC0B284}"/>
    <dgm:cxn modelId="{1094910B-57B7-4A93-87C1-78FF2EE65B4B}" type="presParOf" srcId="{593B85ED-BA7B-4A6B-A591-4286D9A10813}" destId="{B959E46A-CDE7-4979-AF1A-71BF86E9B8CC}" srcOrd="0" destOrd="0" presId="urn:microsoft.com/office/officeart/2005/8/layout/vProcess5"/>
    <dgm:cxn modelId="{FEE84609-EE39-4DD9-BA08-C9682A220351}" type="presParOf" srcId="{593B85ED-BA7B-4A6B-A591-4286D9A10813}" destId="{0656977D-B617-45BD-9F42-6E90F95FD7A4}" srcOrd="1" destOrd="0" presId="urn:microsoft.com/office/officeart/2005/8/layout/vProcess5"/>
    <dgm:cxn modelId="{322E8DE8-25F5-4289-B0F5-9E5E87D17F83}" type="presParOf" srcId="{593B85ED-BA7B-4A6B-A591-4286D9A10813}" destId="{6A02761E-0347-4B77-9741-525F625FB854}" srcOrd="2" destOrd="0" presId="urn:microsoft.com/office/officeart/2005/8/layout/vProcess5"/>
    <dgm:cxn modelId="{BDFD60D0-E706-44C2-8FF0-42B1A69B6720}" type="presParOf" srcId="{593B85ED-BA7B-4A6B-A591-4286D9A10813}" destId="{72A8329C-B102-4A34-B4C3-2587BC7CF4E0}" srcOrd="3" destOrd="0" presId="urn:microsoft.com/office/officeart/2005/8/layout/vProcess5"/>
    <dgm:cxn modelId="{53F56CD8-7F6C-4FE1-B01D-E78819205812}" type="presParOf" srcId="{593B85ED-BA7B-4A6B-A591-4286D9A10813}" destId="{FE01E7C3-13E8-4503-B409-1113778BB434}" srcOrd="4" destOrd="0" presId="urn:microsoft.com/office/officeart/2005/8/layout/vProcess5"/>
    <dgm:cxn modelId="{0477F4EE-A051-41AF-8772-8CB8FF659889}" type="presParOf" srcId="{593B85ED-BA7B-4A6B-A591-4286D9A10813}" destId="{C22D97D4-B049-47F9-AA5E-C26A8A543B37}" srcOrd="5" destOrd="0" presId="urn:microsoft.com/office/officeart/2005/8/layout/vProcess5"/>
    <dgm:cxn modelId="{DB39DAA4-FDDB-46C0-A09F-ED801EF80038}" type="presParOf" srcId="{593B85ED-BA7B-4A6B-A591-4286D9A10813}" destId="{85167841-5190-4F9E-ABB2-F8749D700AA8}" srcOrd="6" destOrd="0" presId="urn:microsoft.com/office/officeart/2005/8/layout/vProcess5"/>
    <dgm:cxn modelId="{C0F0C7E0-3DFD-4549-9D9D-86B45B9281CC}" type="presParOf" srcId="{593B85ED-BA7B-4A6B-A591-4286D9A10813}" destId="{EEB26F6A-B07B-48F7-853C-A9E61C0580B2}" srcOrd="7" destOrd="0" presId="urn:microsoft.com/office/officeart/2005/8/layout/vProcess5"/>
    <dgm:cxn modelId="{55F93F4E-B758-4740-9D87-557663BAB367}" type="presParOf" srcId="{593B85ED-BA7B-4A6B-A591-4286D9A10813}" destId="{126E0569-DFB8-4E32-84E4-5C5BF40FB7CE}" srcOrd="8"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F24432E-3607-401C-B286-B95E40B97B0A}"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66EFE0C7-4A04-4E42-AC61-BDF61EED8615}">
      <dgm:prSet/>
      <dgm:spPr/>
      <dgm:t>
        <a:bodyPr/>
        <a:lstStyle/>
        <a:p>
          <a:r>
            <a:rPr lang="en-US"/>
            <a:t>Consider giving to relevant people:</a:t>
          </a:r>
        </a:p>
      </dgm:t>
    </dgm:pt>
    <dgm:pt modelId="{815FFE14-7CD0-478F-8699-237C8C472EDF}" type="parTrans" cxnId="{1AA7BBC4-72AB-452C-AC8C-96BFAAB90B74}">
      <dgm:prSet/>
      <dgm:spPr/>
      <dgm:t>
        <a:bodyPr/>
        <a:lstStyle/>
        <a:p>
          <a:endParaRPr lang="en-US"/>
        </a:p>
      </dgm:t>
    </dgm:pt>
    <dgm:pt modelId="{19E2833F-B968-4E48-BBD6-6614CAC1E3CF}" type="sibTrans" cxnId="{1AA7BBC4-72AB-452C-AC8C-96BFAAB90B74}">
      <dgm:prSet/>
      <dgm:spPr/>
      <dgm:t>
        <a:bodyPr/>
        <a:lstStyle/>
        <a:p>
          <a:endParaRPr lang="en-US"/>
        </a:p>
      </dgm:t>
    </dgm:pt>
    <dgm:pt modelId="{D486E44F-4CB7-47B6-AF94-D8348626C690}">
      <dgm:prSet/>
      <dgm:spPr/>
      <dgm:t>
        <a:bodyPr/>
        <a:lstStyle/>
        <a:p>
          <a:r>
            <a:rPr lang="en-US"/>
            <a:t>“Sharing” your location</a:t>
          </a:r>
        </a:p>
      </dgm:t>
    </dgm:pt>
    <dgm:pt modelId="{73A77961-5AE7-4C9F-BF61-4C860EAB2C96}" type="parTrans" cxnId="{DD4C319D-7FF2-41E6-8B40-3923B56865CC}">
      <dgm:prSet/>
      <dgm:spPr/>
      <dgm:t>
        <a:bodyPr/>
        <a:lstStyle/>
        <a:p>
          <a:endParaRPr lang="en-US"/>
        </a:p>
      </dgm:t>
    </dgm:pt>
    <dgm:pt modelId="{8DFB57EC-5466-42B4-9A2C-541074E3917F}" type="sibTrans" cxnId="{DD4C319D-7FF2-41E6-8B40-3923B56865CC}">
      <dgm:prSet/>
      <dgm:spPr/>
      <dgm:t>
        <a:bodyPr/>
        <a:lstStyle/>
        <a:p>
          <a:endParaRPr lang="en-US"/>
        </a:p>
      </dgm:t>
    </dgm:pt>
    <dgm:pt modelId="{40E35D3A-659D-426F-B745-3E610BFD07D4}">
      <dgm:prSet/>
      <dgm:spPr/>
      <dgm:t>
        <a:bodyPr/>
        <a:lstStyle/>
        <a:p>
          <a:pPr rtl="0"/>
          <a:r>
            <a:rPr lang="en-US"/>
            <a:t>Name </a:t>
          </a:r>
          <a:r>
            <a:rPr lang="en-US">
              <a:latin typeface="Aptos Display" panose="02110004020202020204"/>
            </a:rPr>
            <a:t>&amp; cell of</a:t>
          </a:r>
          <a:r>
            <a:rPr lang="en-US"/>
            <a:t> </a:t>
          </a:r>
          <a:r>
            <a:rPr lang="en-US">
              <a:latin typeface="Aptos Display" panose="02110004020202020204"/>
            </a:rPr>
            <a:t>your</a:t>
          </a:r>
          <a:r>
            <a:rPr lang="en-US"/>
            <a:t> lawyer, close family members and G28</a:t>
          </a:r>
        </a:p>
      </dgm:t>
    </dgm:pt>
    <dgm:pt modelId="{ED7DB2FE-0D3A-42A2-8A54-0632FDD9531F}" type="parTrans" cxnId="{0FA3BDC0-113E-4685-A80A-B271947C2054}">
      <dgm:prSet/>
      <dgm:spPr/>
      <dgm:t>
        <a:bodyPr/>
        <a:lstStyle/>
        <a:p>
          <a:endParaRPr lang="en-US"/>
        </a:p>
      </dgm:t>
    </dgm:pt>
    <dgm:pt modelId="{981E1532-EB04-42DA-9772-D11B8EDF80D2}" type="sibTrans" cxnId="{0FA3BDC0-113E-4685-A80A-B271947C2054}">
      <dgm:prSet/>
      <dgm:spPr/>
      <dgm:t>
        <a:bodyPr/>
        <a:lstStyle/>
        <a:p>
          <a:endParaRPr lang="en-US"/>
        </a:p>
      </dgm:t>
    </dgm:pt>
    <dgm:pt modelId="{5D1C6E22-964F-40CF-9C4A-7B64A238E1E0}">
      <dgm:prSet/>
      <dgm:spPr/>
      <dgm:t>
        <a:bodyPr/>
        <a:lstStyle/>
        <a:p>
          <a:r>
            <a:rPr lang="en-US"/>
            <a:t>Airport Pickup (if you must travel)</a:t>
          </a:r>
        </a:p>
      </dgm:t>
    </dgm:pt>
    <dgm:pt modelId="{586FCB7D-50E8-4B98-B65B-9AA1CFC5E0DD}" type="parTrans" cxnId="{6C833496-0733-4315-97D1-FACBCEEF51A9}">
      <dgm:prSet/>
      <dgm:spPr/>
      <dgm:t>
        <a:bodyPr/>
        <a:lstStyle/>
        <a:p>
          <a:endParaRPr lang="en-US"/>
        </a:p>
      </dgm:t>
    </dgm:pt>
    <dgm:pt modelId="{2CB563DD-BD8E-41FC-9F16-09533130E70C}" type="sibTrans" cxnId="{6C833496-0733-4315-97D1-FACBCEEF51A9}">
      <dgm:prSet/>
      <dgm:spPr/>
      <dgm:t>
        <a:bodyPr/>
        <a:lstStyle/>
        <a:p>
          <a:endParaRPr lang="en-US"/>
        </a:p>
      </dgm:t>
    </dgm:pt>
    <dgm:pt modelId="{B1B6A779-B194-4703-BFAA-BCA516042269}">
      <dgm:prSet/>
      <dgm:spPr/>
      <dgm:t>
        <a:bodyPr/>
        <a:lstStyle/>
        <a:p>
          <a:r>
            <a:rPr lang="en-US"/>
            <a:t>Have LPR or US citizen pick you up @ airport</a:t>
          </a:r>
        </a:p>
      </dgm:t>
    </dgm:pt>
    <dgm:pt modelId="{E107EE36-07B4-4BFA-9B47-9AA4CE8C38CE}" type="parTrans" cxnId="{BEB7B9E8-4A05-4727-982C-6DC6BE8E20D8}">
      <dgm:prSet/>
      <dgm:spPr/>
      <dgm:t>
        <a:bodyPr/>
        <a:lstStyle/>
        <a:p>
          <a:endParaRPr lang="en-US"/>
        </a:p>
      </dgm:t>
    </dgm:pt>
    <dgm:pt modelId="{29C2305C-BFDD-4381-91BF-25481E2470C7}" type="sibTrans" cxnId="{BEB7B9E8-4A05-4727-982C-6DC6BE8E20D8}">
      <dgm:prSet/>
      <dgm:spPr/>
      <dgm:t>
        <a:bodyPr/>
        <a:lstStyle/>
        <a:p>
          <a:endParaRPr lang="en-US"/>
        </a:p>
      </dgm:t>
    </dgm:pt>
    <dgm:pt modelId="{E4B7DC79-CC1C-4CF1-B30F-07DE68565A50}">
      <dgm:prSet/>
      <dgm:spPr/>
      <dgm:t>
        <a:bodyPr/>
        <a:lstStyle/>
        <a:p>
          <a:r>
            <a:rPr lang="en-US"/>
            <a:t>Text when you land, make sure lawyer is on call</a:t>
          </a:r>
        </a:p>
      </dgm:t>
    </dgm:pt>
    <dgm:pt modelId="{52EA561F-D22F-4E9C-B144-24E81044DAB3}" type="parTrans" cxnId="{5BB6ECDD-261E-4D1A-9A65-BE0B8F809DAB}">
      <dgm:prSet/>
      <dgm:spPr/>
      <dgm:t>
        <a:bodyPr/>
        <a:lstStyle/>
        <a:p>
          <a:endParaRPr lang="en-US"/>
        </a:p>
      </dgm:t>
    </dgm:pt>
    <dgm:pt modelId="{1B5D55CC-458D-4E92-96D7-9454B6EFF975}" type="sibTrans" cxnId="{5BB6ECDD-261E-4D1A-9A65-BE0B8F809DAB}">
      <dgm:prSet/>
      <dgm:spPr/>
      <dgm:t>
        <a:bodyPr/>
        <a:lstStyle/>
        <a:p>
          <a:endParaRPr lang="en-US"/>
        </a:p>
      </dgm:t>
    </dgm:pt>
    <dgm:pt modelId="{2D44F09F-C507-463B-B51E-52FF4A70D15C}">
      <dgm:prSet/>
      <dgm:spPr/>
      <dgm:t>
        <a:bodyPr/>
        <a:lstStyle/>
        <a:p>
          <a:r>
            <a:rPr lang="en-US"/>
            <a:t>Have copies of your G28 and make sure family does</a:t>
          </a:r>
        </a:p>
      </dgm:t>
    </dgm:pt>
    <dgm:pt modelId="{17CF6DC4-200F-437F-AE49-C57120BB4D52}" type="parTrans" cxnId="{8E75FE21-C15B-4A23-95D0-72A4AC4DA9B9}">
      <dgm:prSet/>
      <dgm:spPr/>
      <dgm:t>
        <a:bodyPr/>
        <a:lstStyle/>
        <a:p>
          <a:endParaRPr lang="en-US"/>
        </a:p>
      </dgm:t>
    </dgm:pt>
    <dgm:pt modelId="{9CA47403-6E27-4F72-9530-3FF17B25BACA}" type="sibTrans" cxnId="{8E75FE21-C15B-4A23-95D0-72A4AC4DA9B9}">
      <dgm:prSet/>
      <dgm:spPr/>
      <dgm:t>
        <a:bodyPr/>
        <a:lstStyle/>
        <a:p>
          <a:endParaRPr lang="en-US"/>
        </a:p>
      </dgm:t>
    </dgm:pt>
    <dgm:pt modelId="{F2F5F4EB-A5EC-4449-B353-E8E7C619E714}">
      <dgm:prSet/>
      <dgm:spPr/>
      <dgm:t>
        <a:bodyPr/>
        <a:lstStyle/>
        <a:p>
          <a:pPr rtl="0"/>
          <a:r>
            <a:rPr lang="en-US"/>
            <a:t>Permission to Represent</a:t>
          </a:r>
        </a:p>
      </dgm:t>
    </dgm:pt>
    <dgm:pt modelId="{3513B7C1-A909-443D-9BDE-05CBEA978491}" type="parTrans" cxnId="{8C947B7F-56D0-40FA-A812-5D68DBE4E2B6}">
      <dgm:prSet/>
      <dgm:spPr/>
    </dgm:pt>
    <dgm:pt modelId="{E962872C-2256-4C0E-9939-85074E61D6AE}" type="sibTrans" cxnId="{8C947B7F-56D0-40FA-A812-5D68DBE4E2B6}">
      <dgm:prSet/>
      <dgm:spPr/>
    </dgm:pt>
    <dgm:pt modelId="{2509176F-B15B-4346-B3A0-6CE056EE1CFF}" type="pres">
      <dgm:prSet presAssocID="{2F24432E-3607-401C-B286-B95E40B97B0A}" presName="Name0" presStyleCnt="0">
        <dgm:presLayoutVars>
          <dgm:dir/>
          <dgm:animLvl val="lvl"/>
          <dgm:resizeHandles val="exact"/>
        </dgm:presLayoutVars>
      </dgm:prSet>
      <dgm:spPr/>
    </dgm:pt>
    <dgm:pt modelId="{29FBC930-7979-4397-847D-36A101D49C09}" type="pres">
      <dgm:prSet presAssocID="{66EFE0C7-4A04-4E42-AC61-BDF61EED8615}" presName="composite" presStyleCnt="0"/>
      <dgm:spPr/>
    </dgm:pt>
    <dgm:pt modelId="{D2F4F8EC-0CB2-49D9-8906-40B3BA34C581}" type="pres">
      <dgm:prSet presAssocID="{66EFE0C7-4A04-4E42-AC61-BDF61EED8615}" presName="parTx" presStyleLbl="alignNode1" presStyleIdx="0" presStyleCnt="2">
        <dgm:presLayoutVars>
          <dgm:chMax val="0"/>
          <dgm:chPref val="0"/>
          <dgm:bulletEnabled val="1"/>
        </dgm:presLayoutVars>
      </dgm:prSet>
      <dgm:spPr/>
    </dgm:pt>
    <dgm:pt modelId="{2A5F08BA-4D45-4FF0-9773-C6260D8579CE}" type="pres">
      <dgm:prSet presAssocID="{66EFE0C7-4A04-4E42-AC61-BDF61EED8615}" presName="desTx" presStyleLbl="alignAccFollowNode1" presStyleIdx="0" presStyleCnt="2">
        <dgm:presLayoutVars>
          <dgm:bulletEnabled val="1"/>
        </dgm:presLayoutVars>
      </dgm:prSet>
      <dgm:spPr/>
    </dgm:pt>
    <dgm:pt modelId="{762CE87F-DE6E-4B06-92F2-5201B49D73E8}" type="pres">
      <dgm:prSet presAssocID="{19E2833F-B968-4E48-BBD6-6614CAC1E3CF}" presName="space" presStyleCnt="0"/>
      <dgm:spPr/>
    </dgm:pt>
    <dgm:pt modelId="{35566C88-8706-4918-9C7D-BA2BBFCB38AD}" type="pres">
      <dgm:prSet presAssocID="{5D1C6E22-964F-40CF-9C4A-7B64A238E1E0}" presName="composite" presStyleCnt="0"/>
      <dgm:spPr/>
    </dgm:pt>
    <dgm:pt modelId="{7F7AE96F-9D2F-4EB0-BAE5-B95D4C786020}" type="pres">
      <dgm:prSet presAssocID="{5D1C6E22-964F-40CF-9C4A-7B64A238E1E0}" presName="parTx" presStyleLbl="alignNode1" presStyleIdx="1" presStyleCnt="2">
        <dgm:presLayoutVars>
          <dgm:chMax val="0"/>
          <dgm:chPref val="0"/>
          <dgm:bulletEnabled val="1"/>
        </dgm:presLayoutVars>
      </dgm:prSet>
      <dgm:spPr/>
    </dgm:pt>
    <dgm:pt modelId="{B710DE2E-F9EB-4EEB-9E9D-0087E042F1D7}" type="pres">
      <dgm:prSet presAssocID="{5D1C6E22-964F-40CF-9C4A-7B64A238E1E0}" presName="desTx" presStyleLbl="alignAccFollowNode1" presStyleIdx="1" presStyleCnt="2">
        <dgm:presLayoutVars>
          <dgm:bulletEnabled val="1"/>
        </dgm:presLayoutVars>
      </dgm:prSet>
      <dgm:spPr/>
    </dgm:pt>
  </dgm:ptLst>
  <dgm:cxnLst>
    <dgm:cxn modelId="{EAA6BE0E-BFE9-4AEE-B939-8775BDDC12B5}" type="presOf" srcId="{40E35D3A-659D-426F-B745-3E610BFD07D4}" destId="{2A5F08BA-4D45-4FF0-9773-C6260D8579CE}" srcOrd="0" destOrd="1" presId="urn:microsoft.com/office/officeart/2005/8/layout/hList1"/>
    <dgm:cxn modelId="{2FD33218-8460-493C-B273-74A1E5CF1692}" type="presOf" srcId="{E4B7DC79-CC1C-4CF1-B30F-07DE68565A50}" destId="{B710DE2E-F9EB-4EEB-9E9D-0087E042F1D7}" srcOrd="0" destOrd="1" presId="urn:microsoft.com/office/officeart/2005/8/layout/hList1"/>
    <dgm:cxn modelId="{8E75FE21-C15B-4A23-95D0-72A4AC4DA9B9}" srcId="{5D1C6E22-964F-40CF-9C4A-7B64A238E1E0}" destId="{2D44F09F-C507-463B-B51E-52FF4A70D15C}" srcOrd="2" destOrd="0" parTransId="{17CF6DC4-200F-437F-AE49-C57120BB4D52}" sibTransId="{9CA47403-6E27-4F72-9530-3FF17B25BACA}"/>
    <dgm:cxn modelId="{636C495E-A937-40A8-A13F-7242011CD3BD}" type="presOf" srcId="{5D1C6E22-964F-40CF-9C4A-7B64A238E1E0}" destId="{7F7AE96F-9D2F-4EB0-BAE5-B95D4C786020}" srcOrd="0" destOrd="0" presId="urn:microsoft.com/office/officeart/2005/8/layout/hList1"/>
    <dgm:cxn modelId="{A93C1B6B-8F44-47AF-B85E-A04A88ED523F}" type="presOf" srcId="{66EFE0C7-4A04-4E42-AC61-BDF61EED8615}" destId="{D2F4F8EC-0CB2-49D9-8906-40B3BA34C581}" srcOrd="0" destOrd="0" presId="urn:microsoft.com/office/officeart/2005/8/layout/hList1"/>
    <dgm:cxn modelId="{02DBAC76-1D17-4C1E-B8A8-EA41BC5E5CA1}" type="presOf" srcId="{F2F5F4EB-A5EC-4449-B353-E8E7C619E714}" destId="{2A5F08BA-4D45-4FF0-9773-C6260D8579CE}" srcOrd="0" destOrd="2" presId="urn:microsoft.com/office/officeart/2005/8/layout/hList1"/>
    <dgm:cxn modelId="{8C947B7F-56D0-40FA-A812-5D68DBE4E2B6}" srcId="{66EFE0C7-4A04-4E42-AC61-BDF61EED8615}" destId="{F2F5F4EB-A5EC-4449-B353-E8E7C619E714}" srcOrd="2" destOrd="0" parTransId="{3513B7C1-A909-443D-9BDE-05CBEA978491}" sibTransId="{E962872C-2256-4C0E-9939-85074E61D6AE}"/>
    <dgm:cxn modelId="{F92A4581-B153-4CA0-A4AA-8C3C6E9E9F08}" type="presOf" srcId="{B1B6A779-B194-4703-BFAA-BCA516042269}" destId="{B710DE2E-F9EB-4EEB-9E9D-0087E042F1D7}" srcOrd="0" destOrd="0" presId="urn:microsoft.com/office/officeart/2005/8/layout/hList1"/>
    <dgm:cxn modelId="{2E54EE89-9714-4CA0-BE7D-196DA63D082C}" type="presOf" srcId="{2D44F09F-C507-463B-B51E-52FF4A70D15C}" destId="{B710DE2E-F9EB-4EEB-9E9D-0087E042F1D7}" srcOrd="0" destOrd="2" presId="urn:microsoft.com/office/officeart/2005/8/layout/hList1"/>
    <dgm:cxn modelId="{6C833496-0733-4315-97D1-FACBCEEF51A9}" srcId="{2F24432E-3607-401C-B286-B95E40B97B0A}" destId="{5D1C6E22-964F-40CF-9C4A-7B64A238E1E0}" srcOrd="1" destOrd="0" parTransId="{586FCB7D-50E8-4B98-B65B-9AA1CFC5E0DD}" sibTransId="{2CB563DD-BD8E-41FC-9F16-09533130E70C}"/>
    <dgm:cxn modelId="{DD4C319D-7FF2-41E6-8B40-3923B56865CC}" srcId="{66EFE0C7-4A04-4E42-AC61-BDF61EED8615}" destId="{D486E44F-4CB7-47B6-AF94-D8348626C690}" srcOrd="0" destOrd="0" parTransId="{73A77961-5AE7-4C9F-BF61-4C860EAB2C96}" sibTransId="{8DFB57EC-5466-42B4-9A2C-541074E3917F}"/>
    <dgm:cxn modelId="{3949D0A2-F235-4C13-A5E3-90A62B1E1A85}" type="presOf" srcId="{2F24432E-3607-401C-B286-B95E40B97B0A}" destId="{2509176F-B15B-4346-B3A0-6CE056EE1CFF}" srcOrd="0" destOrd="0" presId="urn:microsoft.com/office/officeart/2005/8/layout/hList1"/>
    <dgm:cxn modelId="{3FA9DAA7-4720-46D8-84CF-A2B1B79A0175}" type="presOf" srcId="{D486E44F-4CB7-47B6-AF94-D8348626C690}" destId="{2A5F08BA-4D45-4FF0-9773-C6260D8579CE}" srcOrd="0" destOrd="0" presId="urn:microsoft.com/office/officeart/2005/8/layout/hList1"/>
    <dgm:cxn modelId="{0FA3BDC0-113E-4685-A80A-B271947C2054}" srcId="{66EFE0C7-4A04-4E42-AC61-BDF61EED8615}" destId="{40E35D3A-659D-426F-B745-3E610BFD07D4}" srcOrd="1" destOrd="0" parTransId="{ED7DB2FE-0D3A-42A2-8A54-0632FDD9531F}" sibTransId="{981E1532-EB04-42DA-9772-D11B8EDF80D2}"/>
    <dgm:cxn modelId="{1AA7BBC4-72AB-452C-AC8C-96BFAAB90B74}" srcId="{2F24432E-3607-401C-B286-B95E40B97B0A}" destId="{66EFE0C7-4A04-4E42-AC61-BDF61EED8615}" srcOrd="0" destOrd="0" parTransId="{815FFE14-7CD0-478F-8699-237C8C472EDF}" sibTransId="{19E2833F-B968-4E48-BBD6-6614CAC1E3CF}"/>
    <dgm:cxn modelId="{5BB6ECDD-261E-4D1A-9A65-BE0B8F809DAB}" srcId="{5D1C6E22-964F-40CF-9C4A-7B64A238E1E0}" destId="{E4B7DC79-CC1C-4CF1-B30F-07DE68565A50}" srcOrd="1" destOrd="0" parTransId="{52EA561F-D22F-4E9C-B144-24E81044DAB3}" sibTransId="{1B5D55CC-458D-4E92-96D7-9454B6EFF975}"/>
    <dgm:cxn modelId="{BEB7B9E8-4A05-4727-982C-6DC6BE8E20D8}" srcId="{5D1C6E22-964F-40CF-9C4A-7B64A238E1E0}" destId="{B1B6A779-B194-4703-BFAA-BCA516042269}" srcOrd="0" destOrd="0" parTransId="{E107EE36-07B4-4BFA-9B47-9AA4CE8C38CE}" sibTransId="{29C2305C-BFDD-4381-91BF-25481E2470C7}"/>
    <dgm:cxn modelId="{7F35307C-B59F-4D23-BDEE-110A230F9580}" type="presParOf" srcId="{2509176F-B15B-4346-B3A0-6CE056EE1CFF}" destId="{29FBC930-7979-4397-847D-36A101D49C09}" srcOrd="0" destOrd="0" presId="urn:microsoft.com/office/officeart/2005/8/layout/hList1"/>
    <dgm:cxn modelId="{CBE8DEF6-4099-420A-9667-419004839C7B}" type="presParOf" srcId="{29FBC930-7979-4397-847D-36A101D49C09}" destId="{D2F4F8EC-0CB2-49D9-8906-40B3BA34C581}" srcOrd="0" destOrd="0" presId="urn:microsoft.com/office/officeart/2005/8/layout/hList1"/>
    <dgm:cxn modelId="{9C652676-BD66-4C28-B969-B618777D42F4}" type="presParOf" srcId="{29FBC930-7979-4397-847D-36A101D49C09}" destId="{2A5F08BA-4D45-4FF0-9773-C6260D8579CE}" srcOrd="1" destOrd="0" presId="urn:microsoft.com/office/officeart/2005/8/layout/hList1"/>
    <dgm:cxn modelId="{C5539387-EBA4-48EE-80B4-85F82CAAA552}" type="presParOf" srcId="{2509176F-B15B-4346-B3A0-6CE056EE1CFF}" destId="{762CE87F-DE6E-4B06-92F2-5201B49D73E8}" srcOrd="1" destOrd="0" presId="urn:microsoft.com/office/officeart/2005/8/layout/hList1"/>
    <dgm:cxn modelId="{C427ED03-44B2-47FE-9A39-1E90F01CA487}" type="presParOf" srcId="{2509176F-B15B-4346-B3A0-6CE056EE1CFF}" destId="{35566C88-8706-4918-9C7D-BA2BBFCB38AD}" srcOrd="2" destOrd="0" presId="urn:microsoft.com/office/officeart/2005/8/layout/hList1"/>
    <dgm:cxn modelId="{805126F7-0F96-4BBA-8AE3-FFA49AF6A43B}" type="presParOf" srcId="{35566C88-8706-4918-9C7D-BA2BBFCB38AD}" destId="{7F7AE96F-9D2F-4EB0-BAE5-B95D4C786020}" srcOrd="0" destOrd="0" presId="urn:microsoft.com/office/officeart/2005/8/layout/hList1"/>
    <dgm:cxn modelId="{4BF79765-4ED2-4314-840C-EAB5189C616A}" type="presParOf" srcId="{35566C88-8706-4918-9C7D-BA2BBFCB38AD}" destId="{B710DE2E-F9EB-4EEB-9E9D-0087E042F1D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F1DC225B-050D-4A63-AD7A-E8E10035525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020B0E5-6095-43F7-A580-577AE89D1DE5}">
      <dgm:prSet/>
      <dgm:spPr/>
      <dgm:t>
        <a:bodyPr/>
        <a:lstStyle/>
        <a:p>
          <a:r>
            <a:rPr lang="en-US" b="0" i="0" baseline="0"/>
            <a:t>Legal Services Directory in Massachusetts:</a:t>
          </a:r>
          <a:endParaRPr lang="en-US"/>
        </a:p>
      </dgm:t>
    </dgm:pt>
    <dgm:pt modelId="{DC813B4E-1D23-4F14-AAFF-303F8DD51624}" type="parTrans" cxnId="{6FA99D7A-3A61-4668-A46C-19E3C8855727}">
      <dgm:prSet/>
      <dgm:spPr/>
      <dgm:t>
        <a:bodyPr/>
        <a:lstStyle/>
        <a:p>
          <a:endParaRPr lang="en-US"/>
        </a:p>
      </dgm:t>
    </dgm:pt>
    <dgm:pt modelId="{0EA29AED-1C59-455E-9D1F-ABCD9157E4BE}" type="sibTrans" cxnId="{6FA99D7A-3A61-4668-A46C-19E3C8855727}">
      <dgm:prSet/>
      <dgm:spPr/>
      <dgm:t>
        <a:bodyPr/>
        <a:lstStyle/>
        <a:p>
          <a:endParaRPr lang="en-US"/>
        </a:p>
      </dgm:t>
    </dgm:pt>
    <dgm:pt modelId="{2119F199-CB3F-49D7-AD16-35C59E81EBFC}">
      <dgm:prSet/>
      <dgm:spPr/>
      <dgm:t>
        <a:bodyPr/>
        <a:lstStyle/>
        <a:p>
          <a:r>
            <a:rPr lang="en-US" b="0" i="0" baseline="0"/>
            <a:t>Massachusetts Legal Resource Finder:</a:t>
          </a:r>
          <a:endParaRPr lang="en-US"/>
        </a:p>
      </dgm:t>
    </dgm:pt>
    <dgm:pt modelId="{B28AEE9F-84E5-4E1A-AF65-C9D1F13ABE93}" type="parTrans" cxnId="{D4ACFC99-2AC2-4963-9FFC-F42B56E01AA4}">
      <dgm:prSet/>
      <dgm:spPr/>
      <dgm:t>
        <a:bodyPr/>
        <a:lstStyle/>
        <a:p>
          <a:endParaRPr lang="en-US"/>
        </a:p>
      </dgm:t>
    </dgm:pt>
    <dgm:pt modelId="{4019C3A4-FC53-446A-9C42-2B857D8B65C0}" type="sibTrans" cxnId="{D4ACFC99-2AC2-4963-9FFC-F42B56E01AA4}">
      <dgm:prSet/>
      <dgm:spPr/>
      <dgm:t>
        <a:bodyPr/>
        <a:lstStyle/>
        <a:p>
          <a:endParaRPr lang="en-US"/>
        </a:p>
      </dgm:t>
    </dgm:pt>
    <dgm:pt modelId="{806FC610-FF93-47C1-B4CE-92D242540144}">
      <dgm:prSet/>
      <dgm:spPr/>
      <dgm:t>
        <a:bodyPr/>
        <a:lstStyle/>
        <a:p>
          <a:r>
            <a:rPr lang="en-US" b="0" i="0" baseline="0"/>
            <a:t>Legal Services Directory Outside of Massachusetts:</a:t>
          </a:r>
          <a:endParaRPr lang="en-US"/>
        </a:p>
      </dgm:t>
    </dgm:pt>
    <dgm:pt modelId="{BC70492E-F774-4184-BAC1-29FCFF8BF486}" type="parTrans" cxnId="{312E925F-2D55-4F1B-93B2-E0B054FA5A34}">
      <dgm:prSet/>
      <dgm:spPr/>
      <dgm:t>
        <a:bodyPr/>
        <a:lstStyle/>
        <a:p>
          <a:endParaRPr lang="en-US"/>
        </a:p>
      </dgm:t>
    </dgm:pt>
    <dgm:pt modelId="{43BFB16F-DF3C-4F65-B1E4-FE4160500723}" type="sibTrans" cxnId="{312E925F-2D55-4F1B-93B2-E0B054FA5A34}">
      <dgm:prSet/>
      <dgm:spPr/>
      <dgm:t>
        <a:bodyPr/>
        <a:lstStyle/>
        <a:p>
          <a:endParaRPr lang="en-US"/>
        </a:p>
      </dgm:t>
    </dgm:pt>
    <dgm:pt modelId="{1DE630CF-6102-4847-8675-EAEAF8440610}">
      <dgm:prSet/>
      <dgm:spPr/>
      <dgm:t>
        <a:bodyPr/>
        <a:lstStyle/>
        <a:p>
          <a:r>
            <a:rPr lang="en-US" b="0" i="0" baseline="0"/>
            <a:t>Immigration Advocates Network Legal Directory: </a:t>
          </a:r>
          <a:r>
            <a:rPr lang="en-US" b="0" i="0" u="sng" baseline="0">
              <a:hlinkClick xmlns:r="http://schemas.openxmlformats.org/officeDocument/2006/relationships" r:id="rId1"/>
            </a:rPr>
            <a:t>https://www.immigrationadvocates.org/legaldirectory/</a:t>
          </a:r>
          <a:r>
            <a:rPr lang="en-US" b="0" i="0" baseline="0"/>
            <a:t>  </a:t>
          </a:r>
          <a:endParaRPr lang="en-US"/>
        </a:p>
      </dgm:t>
    </dgm:pt>
    <dgm:pt modelId="{B796C593-41ED-42AF-B328-0227C817643C}" type="parTrans" cxnId="{0144FC95-F4AF-44AA-8A24-23005117E091}">
      <dgm:prSet/>
      <dgm:spPr/>
      <dgm:t>
        <a:bodyPr/>
        <a:lstStyle/>
        <a:p>
          <a:endParaRPr lang="en-US"/>
        </a:p>
      </dgm:t>
    </dgm:pt>
    <dgm:pt modelId="{A8D98A07-3F0D-49CD-ADC4-9BCACDC7E926}" type="sibTrans" cxnId="{0144FC95-F4AF-44AA-8A24-23005117E091}">
      <dgm:prSet/>
      <dgm:spPr/>
      <dgm:t>
        <a:bodyPr/>
        <a:lstStyle/>
        <a:p>
          <a:endParaRPr lang="en-US"/>
        </a:p>
      </dgm:t>
    </dgm:pt>
    <dgm:pt modelId="{941BC56C-B3A3-4A37-9368-810958AB4D3E}">
      <dgm:prSet/>
      <dgm:spPr/>
      <dgm:t>
        <a:bodyPr/>
        <a:lstStyle/>
        <a:p>
          <a:r>
            <a:rPr lang="en-US" b="0" i="0" baseline="0"/>
            <a:t>List of Immigration Groups:</a:t>
          </a:r>
          <a:endParaRPr lang="en-US"/>
        </a:p>
      </dgm:t>
    </dgm:pt>
    <dgm:pt modelId="{DECA5CB5-5A03-4EBC-AA4B-AECC2A456093}" type="parTrans" cxnId="{408DD8EB-FACE-4052-B8C8-CA921AD60905}">
      <dgm:prSet/>
      <dgm:spPr/>
      <dgm:t>
        <a:bodyPr/>
        <a:lstStyle/>
        <a:p>
          <a:endParaRPr lang="en-US"/>
        </a:p>
      </dgm:t>
    </dgm:pt>
    <dgm:pt modelId="{15795D7A-27B5-4F64-81C2-37C50A783EE5}" type="sibTrans" cxnId="{408DD8EB-FACE-4052-B8C8-CA921AD60905}">
      <dgm:prSet/>
      <dgm:spPr/>
      <dgm:t>
        <a:bodyPr/>
        <a:lstStyle/>
        <a:p>
          <a:endParaRPr lang="en-US"/>
        </a:p>
      </dgm:t>
    </dgm:pt>
    <dgm:pt modelId="{7FF66686-9919-4C8D-B8F7-CF609CD37AF0}">
      <dgm:prSet/>
      <dgm:spPr/>
      <dgm:t>
        <a:bodyPr/>
        <a:lstStyle/>
        <a:p>
          <a:r>
            <a:rPr lang="en-US" b="0" i="0">
              <a:hlinkClick xmlns:r="http://schemas.openxmlformats.org/officeDocument/2006/relationships" r:id="rId2" tooltip="https://www.boston.gov/departments/immigrant-advancement/free-immigration-consultations"/>
            </a:rPr>
            <a:t>https://www.boston.gov/departments/immigrant-advancement/free-immigration-consultations</a:t>
          </a:r>
          <a:r>
            <a:rPr lang="en-US" b="0" i="0"/>
            <a:t>.</a:t>
          </a:r>
          <a:endParaRPr lang="en-US"/>
        </a:p>
      </dgm:t>
    </dgm:pt>
    <dgm:pt modelId="{900F9CFE-BB0D-43D5-9410-1783CE37AC18}" type="parTrans" cxnId="{C62BD48D-2C99-4CB4-B5C9-21212FBD6C05}">
      <dgm:prSet/>
      <dgm:spPr/>
    </dgm:pt>
    <dgm:pt modelId="{85BD9E5D-08B7-4C97-A648-F4A60EF80170}" type="sibTrans" cxnId="{C62BD48D-2C99-4CB4-B5C9-21212FBD6C05}">
      <dgm:prSet/>
      <dgm:spPr/>
    </dgm:pt>
    <dgm:pt modelId="{0526AC1C-F6EC-46F3-83BF-89570B427E63}">
      <dgm:prSet/>
      <dgm:spPr/>
      <dgm:t>
        <a:bodyPr/>
        <a:lstStyle/>
        <a:p>
          <a:r>
            <a:rPr lang="en-US"/>
            <a:t>MIRA immigration helpline:	</a:t>
          </a:r>
        </a:p>
      </dgm:t>
    </dgm:pt>
    <dgm:pt modelId="{3E6CDE67-F53A-44FC-AB55-1EDF195D2E9F}" type="parTrans" cxnId="{0094CDD0-FBF2-4381-9F18-EC3B34D4ABFB}">
      <dgm:prSet/>
      <dgm:spPr/>
    </dgm:pt>
    <dgm:pt modelId="{C6A85061-BBBB-47F2-AFBE-F8FFC9FAE8EE}" type="sibTrans" cxnId="{0094CDD0-FBF2-4381-9F18-EC3B34D4ABFB}">
      <dgm:prSet/>
      <dgm:spPr/>
    </dgm:pt>
    <dgm:pt modelId="{F7387E46-1642-4A01-AE0F-4E28BE1B2F12}">
      <dgm:prSet/>
      <dgm:spPr/>
      <dgm:t>
        <a:bodyPr/>
        <a:lstStyle/>
        <a:p>
          <a:r>
            <a:rPr lang="en-US">
              <a:hlinkClick xmlns:r="http://schemas.openxmlformats.org/officeDocument/2006/relationships" r:id="rId3"/>
            </a:rPr>
            <a:t>https://miracoalition.org/news/immigration-helpline/</a:t>
          </a:r>
          <a:endParaRPr lang="en-US"/>
        </a:p>
      </dgm:t>
    </dgm:pt>
    <dgm:pt modelId="{B4FCF1BD-C41A-4469-B91D-0F9F908E594B}" type="parTrans" cxnId="{37492391-7507-45C8-AE34-D6A3B63791D5}">
      <dgm:prSet/>
      <dgm:spPr/>
    </dgm:pt>
    <dgm:pt modelId="{2A791855-154E-4069-BE47-52F8B1BD8964}" type="sibTrans" cxnId="{37492391-7507-45C8-AE34-D6A3B63791D5}">
      <dgm:prSet/>
      <dgm:spPr/>
    </dgm:pt>
    <dgm:pt modelId="{E623AA7F-D632-4D30-84B9-BD884F2CBDA0}">
      <dgm:prSet/>
      <dgm:spPr/>
      <dgm:t>
        <a:bodyPr/>
        <a:lstStyle/>
        <a:p>
          <a:r>
            <a:rPr lang="en-US" b="0" i="0" baseline="0"/>
            <a:t> </a:t>
          </a:r>
          <a:r>
            <a:rPr lang="en-US" b="0" i="0" u="sng" baseline="0">
              <a:hlinkClick xmlns:r="http://schemas.openxmlformats.org/officeDocument/2006/relationships" r:id="rId4"/>
            </a:rPr>
            <a:t>https://masslrf.org/en/home</a:t>
          </a:r>
          <a:r>
            <a:rPr lang="en-US" b="0" i="0" u="sng" baseline="0"/>
            <a:t> </a:t>
          </a:r>
          <a:r>
            <a:rPr lang="en-US" b="0" i="0" baseline="0"/>
            <a:t> </a:t>
          </a:r>
          <a:endParaRPr lang="en-US"/>
        </a:p>
      </dgm:t>
    </dgm:pt>
    <dgm:pt modelId="{38F9D038-28ED-4E1E-A8FC-AB17DBF3581B}" type="parTrans" cxnId="{ABBB777F-B9A8-4667-AED8-DE18BE67DD50}">
      <dgm:prSet/>
      <dgm:spPr/>
    </dgm:pt>
    <dgm:pt modelId="{40C92EBE-9418-45D5-85BC-5C425E2CABD9}" type="sibTrans" cxnId="{ABBB777F-B9A8-4667-AED8-DE18BE67DD50}">
      <dgm:prSet/>
      <dgm:spPr/>
    </dgm:pt>
    <dgm:pt modelId="{FD5BC940-055B-412E-A71F-F7CD81B41B12}">
      <dgm:prSet/>
      <dgm:spPr/>
      <dgm:t>
        <a:bodyPr/>
        <a:lstStyle/>
        <a:p>
          <a:r>
            <a:rPr lang="en-US" b="0" i="0" baseline="0"/>
            <a:t>City of Boston free consultations:</a:t>
          </a:r>
          <a:endParaRPr lang="en-US"/>
        </a:p>
      </dgm:t>
    </dgm:pt>
    <dgm:pt modelId="{132B9F97-C5F1-4749-884A-086BB6E9B4C0}" type="parTrans" cxnId="{15821629-A0AB-4F67-BC7F-19F369FCA093}">
      <dgm:prSet/>
      <dgm:spPr/>
    </dgm:pt>
    <dgm:pt modelId="{0F20A50C-2D0D-43B9-8C1D-705448EE83D0}" type="sibTrans" cxnId="{15821629-A0AB-4F67-BC7F-19F369FCA093}">
      <dgm:prSet/>
      <dgm:spPr/>
    </dgm:pt>
    <dgm:pt modelId="{F9E32ABD-61AC-4325-8349-B2D585451074}">
      <dgm:prSet/>
      <dgm:spPr/>
      <dgm:t>
        <a:bodyPr/>
        <a:lstStyle/>
        <a:p>
          <a:r>
            <a:rPr lang="en-US">
              <a:hlinkClick xmlns:r="http://schemas.openxmlformats.org/officeDocument/2006/relationships" r:id="rId5"/>
            </a:rPr>
            <a:t>https://www.mass.gov/info-details/immigration-legal-support#free-immigration-legal-clinics</a:t>
          </a:r>
          <a:endParaRPr lang="en-US"/>
        </a:p>
      </dgm:t>
    </dgm:pt>
    <dgm:pt modelId="{8DE4C200-5B60-4526-A8B1-1CDEE38D64C0}" type="parTrans" cxnId="{367EE082-73A3-4B56-9885-CBEF91B8EC29}">
      <dgm:prSet/>
      <dgm:spPr/>
    </dgm:pt>
    <dgm:pt modelId="{14DFF1D9-F11F-4E8C-9F4E-30529ECD7C25}" type="sibTrans" cxnId="{367EE082-73A3-4B56-9885-CBEF91B8EC29}">
      <dgm:prSet/>
      <dgm:spPr/>
    </dgm:pt>
    <dgm:pt modelId="{90A01073-DEF1-4695-A8CD-C3CA4C3F8F4E}" type="pres">
      <dgm:prSet presAssocID="{F1DC225B-050D-4A63-AD7A-E8E100355250}" presName="linear" presStyleCnt="0">
        <dgm:presLayoutVars>
          <dgm:dir/>
          <dgm:animLvl val="lvl"/>
          <dgm:resizeHandles val="exact"/>
        </dgm:presLayoutVars>
      </dgm:prSet>
      <dgm:spPr/>
    </dgm:pt>
    <dgm:pt modelId="{438524C5-830A-44CC-B78F-B124CAFB6947}" type="pres">
      <dgm:prSet presAssocID="{D020B0E5-6095-43F7-A580-577AE89D1DE5}" presName="parentLin" presStyleCnt="0"/>
      <dgm:spPr/>
    </dgm:pt>
    <dgm:pt modelId="{A22BE037-3D39-4F5D-8F74-0F53112C0321}" type="pres">
      <dgm:prSet presAssocID="{D020B0E5-6095-43F7-A580-577AE89D1DE5}" presName="parentLeftMargin" presStyleLbl="node1" presStyleIdx="0" presStyleCnt="2"/>
      <dgm:spPr/>
    </dgm:pt>
    <dgm:pt modelId="{85788615-EA7E-4075-BFD0-11A49CFAF1C0}" type="pres">
      <dgm:prSet presAssocID="{D020B0E5-6095-43F7-A580-577AE89D1DE5}" presName="parentText" presStyleLbl="node1" presStyleIdx="0" presStyleCnt="2">
        <dgm:presLayoutVars>
          <dgm:chMax val="0"/>
          <dgm:bulletEnabled val="1"/>
        </dgm:presLayoutVars>
      </dgm:prSet>
      <dgm:spPr/>
    </dgm:pt>
    <dgm:pt modelId="{ABC447AC-BF72-4CDB-8043-538BA128C83E}" type="pres">
      <dgm:prSet presAssocID="{D020B0E5-6095-43F7-A580-577AE89D1DE5}" presName="negativeSpace" presStyleCnt="0"/>
      <dgm:spPr/>
    </dgm:pt>
    <dgm:pt modelId="{DBB9472C-420F-4D2B-A980-69113783ABD5}" type="pres">
      <dgm:prSet presAssocID="{D020B0E5-6095-43F7-A580-577AE89D1DE5}" presName="childText" presStyleLbl="conFgAcc1" presStyleIdx="0" presStyleCnt="2">
        <dgm:presLayoutVars>
          <dgm:bulletEnabled val="1"/>
        </dgm:presLayoutVars>
      </dgm:prSet>
      <dgm:spPr/>
    </dgm:pt>
    <dgm:pt modelId="{5FE1673D-BD97-4476-8448-D812762F1C39}" type="pres">
      <dgm:prSet presAssocID="{0EA29AED-1C59-455E-9D1F-ABCD9157E4BE}" presName="spaceBetweenRectangles" presStyleCnt="0"/>
      <dgm:spPr/>
    </dgm:pt>
    <dgm:pt modelId="{0C8BBCDD-AC38-4A43-B43D-D4F37715E62C}" type="pres">
      <dgm:prSet presAssocID="{806FC610-FF93-47C1-B4CE-92D242540144}" presName="parentLin" presStyleCnt="0"/>
      <dgm:spPr/>
    </dgm:pt>
    <dgm:pt modelId="{DEAC4395-D829-437D-94CA-DB72E3734475}" type="pres">
      <dgm:prSet presAssocID="{806FC610-FF93-47C1-B4CE-92D242540144}" presName="parentLeftMargin" presStyleLbl="node1" presStyleIdx="0" presStyleCnt="2"/>
      <dgm:spPr/>
    </dgm:pt>
    <dgm:pt modelId="{E5F66603-6492-49A3-B271-ED533C941B0E}" type="pres">
      <dgm:prSet presAssocID="{806FC610-FF93-47C1-B4CE-92D242540144}" presName="parentText" presStyleLbl="node1" presStyleIdx="1" presStyleCnt="2">
        <dgm:presLayoutVars>
          <dgm:chMax val="0"/>
          <dgm:bulletEnabled val="1"/>
        </dgm:presLayoutVars>
      </dgm:prSet>
      <dgm:spPr/>
    </dgm:pt>
    <dgm:pt modelId="{828F2E07-9280-40E5-9376-BF1155CA3149}" type="pres">
      <dgm:prSet presAssocID="{806FC610-FF93-47C1-B4CE-92D242540144}" presName="negativeSpace" presStyleCnt="0"/>
      <dgm:spPr/>
    </dgm:pt>
    <dgm:pt modelId="{3F11C419-1C04-4A3E-AF33-3215D40C8532}" type="pres">
      <dgm:prSet presAssocID="{806FC610-FF93-47C1-B4CE-92D242540144}" presName="childText" presStyleLbl="conFgAcc1" presStyleIdx="1" presStyleCnt="2">
        <dgm:presLayoutVars>
          <dgm:bulletEnabled val="1"/>
        </dgm:presLayoutVars>
      </dgm:prSet>
      <dgm:spPr/>
    </dgm:pt>
  </dgm:ptLst>
  <dgm:cxnLst>
    <dgm:cxn modelId="{EFF9DA04-0943-49B0-8C46-D668278FFD3A}" type="presOf" srcId="{D020B0E5-6095-43F7-A580-577AE89D1DE5}" destId="{A22BE037-3D39-4F5D-8F74-0F53112C0321}" srcOrd="0" destOrd="0" presId="urn:microsoft.com/office/officeart/2005/8/layout/list1"/>
    <dgm:cxn modelId="{AC3AEE0F-4B02-4D85-A34C-AF35A10E7286}" type="presOf" srcId="{FD5BC940-055B-412E-A71F-F7CD81B41B12}" destId="{DBB9472C-420F-4D2B-A980-69113783ABD5}" srcOrd="0" destOrd="4" presId="urn:microsoft.com/office/officeart/2005/8/layout/list1"/>
    <dgm:cxn modelId="{4E886F28-85AE-42DD-880E-255651F2EDF3}" type="presOf" srcId="{806FC610-FF93-47C1-B4CE-92D242540144}" destId="{DEAC4395-D829-437D-94CA-DB72E3734475}" srcOrd="0" destOrd="0" presId="urn:microsoft.com/office/officeart/2005/8/layout/list1"/>
    <dgm:cxn modelId="{15821629-A0AB-4F67-BC7F-19F369FCA093}" srcId="{D020B0E5-6095-43F7-A580-577AE89D1DE5}" destId="{FD5BC940-055B-412E-A71F-F7CD81B41B12}" srcOrd="2" destOrd="0" parTransId="{132B9F97-C5F1-4749-884A-086BB6E9B4C0}" sibTransId="{0F20A50C-2D0D-43B9-8C1D-705448EE83D0}"/>
    <dgm:cxn modelId="{21DF9C3F-0CE6-4485-92A3-CE548C9F20B4}" type="presOf" srcId="{E623AA7F-D632-4D30-84B9-BD884F2CBDA0}" destId="{DBB9472C-420F-4D2B-A980-69113783ABD5}" srcOrd="0" destOrd="1" presId="urn:microsoft.com/office/officeart/2005/8/layout/list1"/>
    <dgm:cxn modelId="{312E925F-2D55-4F1B-93B2-E0B054FA5A34}" srcId="{F1DC225B-050D-4A63-AD7A-E8E100355250}" destId="{806FC610-FF93-47C1-B4CE-92D242540144}" srcOrd="1" destOrd="0" parTransId="{BC70492E-F774-4184-BAC1-29FCFF8BF486}" sibTransId="{43BFB16F-DF3C-4F65-B1E4-FE4160500723}"/>
    <dgm:cxn modelId="{D8965949-807F-456F-ABE0-014607623ECF}" type="presOf" srcId="{941BC56C-B3A3-4A37-9368-810958AB4D3E}" destId="{DBB9472C-420F-4D2B-A980-69113783ABD5}" srcOrd="0" destOrd="2" presId="urn:microsoft.com/office/officeart/2005/8/layout/list1"/>
    <dgm:cxn modelId="{8EF8C555-3592-4972-916F-45138484FB1A}" type="presOf" srcId="{1DE630CF-6102-4847-8675-EAEAF8440610}" destId="{3F11C419-1C04-4A3E-AF33-3215D40C8532}" srcOrd="0" destOrd="0" presId="urn:microsoft.com/office/officeart/2005/8/layout/list1"/>
    <dgm:cxn modelId="{6FA99D7A-3A61-4668-A46C-19E3C8855727}" srcId="{F1DC225B-050D-4A63-AD7A-E8E100355250}" destId="{D020B0E5-6095-43F7-A580-577AE89D1DE5}" srcOrd="0" destOrd="0" parTransId="{DC813B4E-1D23-4F14-AAFF-303F8DD51624}" sibTransId="{0EA29AED-1C59-455E-9D1F-ABCD9157E4BE}"/>
    <dgm:cxn modelId="{ABBB777F-B9A8-4667-AED8-DE18BE67DD50}" srcId="{2119F199-CB3F-49D7-AD16-35C59E81EBFC}" destId="{E623AA7F-D632-4D30-84B9-BD884F2CBDA0}" srcOrd="0" destOrd="0" parTransId="{38F9D038-28ED-4E1E-A8FC-AB17DBF3581B}" sibTransId="{40C92EBE-9418-45D5-85BC-5C425E2CABD9}"/>
    <dgm:cxn modelId="{367EE082-73A3-4B56-9885-CBEF91B8EC29}" srcId="{941BC56C-B3A3-4A37-9368-810958AB4D3E}" destId="{F9E32ABD-61AC-4325-8349-B2D585451074}" srcOrd="0" destOrd="0" parTransId="{8DE4C200-5B60-4526-A8B1-1CDEE38D64C0}" sibTransId="{14DFF1D9-F11F-4E8C-9F4E-30529ECD7C25}"/>
    <dgm:cxn modelId="{C62BD48D-2C99-4CB4-B5C9-21212FBD6C05}" srcId="{FD5BC940-055B-412E-A71F-F7CD81B41B12}" destId="{7FF66686-9919-4C8D-B8F7-CF609CD37AF0}" srcOrd="0" destOrd="0" parTransId="{900F9CFE-BB0D-43D5-9410-1783CE37AC18}" sibTransId="{85BD9E5D-08B7-4C97-A648-F4A60EF80170}"/>
    <dgm:cxn modelId="{37492391-7507-45C8-AE34-D6A3B63791D5}" srcId="{0526AC1C-F6EC-46F3-83BF-89570B427E63}" destId="{F7387E46-1642-4A01-AE0F-4E28BE1B2F12}" srcOrd="0" destOrd="0" parTransId="{B4FCF1BD-C41A-4469-B91D-0F9F908E594B}" sibTransId="{2A791855-154E-4069-BE47-52F8B1BD8964}"/>
    <dgm:cxn modelId="{F4F4C895-5802-46D3-8020-05C28460422E}" type="presOf" srcId="{0526AC1C-F6EC-46F3-83BF-89570B427E63}" destId="{DBB9472C-420F-4D2B-A980-69113783ABD5}" srcOrd="0" destOrd="6" presId="urn:microsoft.com/office/officeart/2005/8/layout/list1"/>
    <dgm:cxn modelId="{0144FC95-F4AF-44AA-8A24-23005117E091}" srcId="{806FC610-FF93-47C1-B4CE-92D242540144}" destId="{1DE630CF-6102-4847-8675-EAEAF8440610}" srcOrd="0" destOrd="0" parTransId="{B796C593-41ED-42AF-B328-0227C817643C}" sibTransId="{A8D98A07-3F0D-49CD-ADC4-9BCACDC7E926}"/>
    <dgm:cxn modelId="{2ACC0B99-E5C6-4014-B9DF-4CEA6B52E730}" type="presOf" srcId="{806FC610-FF93-47C1-B4CE-92D242540144}" destId="{E5F66603-6492-49A3-B271-ED533C941B0E}" srcOrd="1" destOrd="0" presId="urn:microsoft.com/office/officeart/2005/8/layout/list1"/>
    <dgm:cxn modelId="{D4ACFC99-2AC2-4963-9FFC-F42B56E01AA4}" srcId="{D020B0E5-6095-43F7-A580-577AE89D1DE5}" destId="{2119F199-CB3F-49D7-AD16-35C59E81EBFC}" srcOrd="0" destOrd="0" parTransId="{B28AEE9F-84E5-4E1A-AF65-C9D1F13ABE93}" sibTransId="{4019C3A4-FC53-446A-9C42-2B857D8B65C0}"/>
    <dgm:cxn modelId="{3F56A8A1-8B11-417D-BD85-23AA0C4AC8F5}" type="presOf" srcId="{F9E32ABD-61AC-4325-8349-B2D585451074}" destId="{DBB9472C-420F-4D2B-A980-69113783ABD5}" srcOrd="0" destOrd="3" presId="urn:microsoft.com/office/officeart/2005/8/layout/list1"/>
    <dgm:cxn modelId="{3C65FDAA-740D-4162-80A5-97656489E4C4}" type="presOf" srcId="{F1DC225B-050D-4A63-AD7A-E8E100355250}" destId="{90A01073-DEF1-4695-A8CD-C3CA4C3F8F4E}" srcOrd="0" destOrd="0" presId="urn:microsoft.com/office/officeart/2005/8/layout/list1"/>
    <dgm:cxn modelId="{DEB6C5BB-54A1-4848-B929-08ACB138D929}" type="presOf" srcId="{2119F199-CB3F-49D7-AD16-35C59E81EBFC}" destId="{DBB9472C-420F-4D2B-A980-69113783ABD5}" srcOrd="0" destOrd="0" presId="urn:microsoft.com/office/officeart/2005/8/layout/list1"/>
    <dgm:cxn modelId="{EAFA05CA-1E5C-4F7E-99FA-B1CE162713C3}" type="presOf" srcId="{7FF66686-9919-4C8D-B8F7-CF609CD37AF0}" destId="{DBB9472C-420F-4D2B-A980-69113783ABD5}" srcOrd="0" destOrd="5" presId="urn:microsoft.com/office/officeart/2005/8/layout/list1"/>
    <dgm:cxn modelId="{0094CDD0-FBF2-4381-9F18-EC3B34D4ABFB}" srcId="{D020B0E5-6095-43F7-A580-577AE89D1DE5}" destId="{0526AC1C-F6EC-46F3-83BF-89570B427E63}" srcOrd="3" destOrd="0" parTransId="{3E6CDE67-F53A-44FC-AB55-1EDF195D2E9F}" sibTransId="{C6A85061-BBBB-47F2-AFBE-F8FFC9FAE8EE}"/>
    <dgm:cxn modelId="{408DD8EB-FACE-4052-B8C8-CA921AD60905}" srcId="{D020B0E5-6095-43F7-A580-577AE89D1DE5}" destId="{941BC56C-B3A3-4A37-9368-810958AB4D3E}" srcOrd="1" destOrd="0" parTransId="{DECA5CB5-5A03-4EBC-AA4B-AECC2A456093}" sibTransId="{15795D7A-27B5-4F64-81C2-37C50A783EE5}"/>
    <dgm:cxn modelId="{A93687F2-2396-4081-81B5-E07A1C09CA53}" type="presOf" srcId="{F7387E46-1642-4A01-AE0F-4E28BE1B2F12}" destId="{DBB9472C-420F-4D2B-A980-69113783ABD5}" srcOrd="0" destOrd="7" presId="urn:microsoft.com/office/officeart/2005/8/layout/list1"/>
    <dgm:cxn modelId="{DEBDA2F2-7F2F-4BB2-B0D9-DC5A25DD4E6D}" type="presOf" srcId="{D020B0E5-6095-43F7-A580-577AE89D1DE5}" destId="{85788615-EA7E-4075-BFD0-11A49CFAF1C0}" srcOrd="1" destOrd="0" presId="urn:microsoft.com/office/officeart/2005/8/layout/list1"/>
    <dgm:cxn modelId="{F0FD9C0E-DAD5-4121-9757-AE43CA3A9C09}" type="presParOf" srcId="{90A01073-DEF1-4695-A8CD-C3CA4C3F8F4E}" destId="{438524C5-830A-44CC-B78F-B124CAFB6947}" srcOrd="0" destOrd="0" presId="urn:microsoft.com/office/officeart/2005/8/layout/list1"/>
    <dgm:cxn modelId="{CF28F815-302F-4CBF-A195-077EDA83BFD4}" type="presParOf" srcId="{438524C5-830A-44CC-B78F-B124CAFB6947}" destId="{A22BE037-3D39-4F5D-8F74-0F53112C0321}" srcOrd="0" destOrd="0" presId="urn:microsoft.com/office/officeart/2005/8/layout/list1"/>
    <dgm:cxn modelId="{15C98C2F-9816-4BE7-A801-D69C1C8CD15D}" type="presParOf" srcId="{438524C5-830A-44CC-B78F-B124CAFB6947}" destId="{85788615-EA7E-4075-BFD0-11A49CFAF1C0}" srcOrd="1" destOrd="0" presId="urn:microsoft.com/office/officeart/2005/8/layout/list1"/>
    <dgm:cxn modelId="{21E0224C-56AC-4956-9560-E6B47C7C59B2}" type="presParOf" srcId="{90A01073-DEF1-4695-A8CD-C3CA4C3F8F4E}" destId="{ABC447AC-BF72-4CDB-8043-538BA128C83E}" srcOrd="1" destOrd="0" presId="urn:microsoft.com/office/officeart/2005/8/layout/list1"/>
    <dgm:cxn modelId="{0F8B3251-E8CC-4D41-8F35-E029797E93EF}" type="presParOf" srcId="{90A01073-DEF1-4695-A8CD-C3CA4C3F8F4E}" destId="{DBB9472C-420F-4D2B-A980-69113783ABD5}" srcOrd="2" destOrd="0" presId="urn:microsoft.com/office/officeart/2005/8/layout/list1"/>
    <dgm:cxn modelId="{FE940C74-9B40-484C-AA72-0A8EDBD72FEB}" type="presParOf" srcId="{90A01073-DEF1-4695-A8CD-C3CA4C3F8F4E}" destId="{5FE1673D-BD97-4476-8448-D812762F1C39}" srcOrd="3" destOrd="0" presId="urn:microsoft.com/office/officeart/2005/8/layout/list1"/>
    <dgm:cxn modelId="{CAFE7F4E-85F0-426A-815A-EE3164B14B4D}" type="presParOf" srcId="{90A01073-DEF1-4695-A8CD-C3CA4C3F8F4E}" destId="{0C8BBCDD-AC38-4A43-B43D-D4F37715E62C}" srcOrd="4" destOrd="0" presId="urn:microsoft.com/office/officeart/2005/8/layout/list1"/>
    <dgm:cxn modelId="{CA8DBAFF-8658-48DE-BA6E-3F28FEBD95FE}" type="presParOf" srcId="{0C8BBCDD-AC38-4A43-B43D-D4F37715E62C}" destId="{DEAC4395-D829-437D-94CA-DB72E3734475}" srcOrd="0" destOrd="0" presId="urn:microsoft.com/office/officeart/2005/8/layout/list1"/>
    <dgm:cxn modelId="{880A59E8-C660-49DB-B3F4-292C5B12025E}" type="presParOf" srcId="{0C8BBCDD-AC38-4A43-B43D-D4F37715E62C}" destId="{E5F66603-6492-49A3-B271-ED533C941B0E}" srcOrd="1" destOrd="0" presId="urn:microsoft.com/office/officeart/2005/8/layout/list1"/>
    <dgm:cxn modelId="{6C293655-BFD5-4A0F-9707-029018B809BE}" type="presParOf" srcId="{90A01073-DEF1-4695-A8CD-C3CA4C3F8F4E}" destId="{828F2E07-9280-40E5-9376-BF1155CA3149}" srcOrd="5" destOrd="0" presId="urn:microsoft.com/office/officeart/2005/8/layout/list1"/>
    <dgm:cxn modelId="{470F13A8-5AD3-40A8-99C0-A66A843E377F}" type="presParOf" srcId="{90A01073-DEF1-4695-A8CD-C3CA4C3F8F4E}" destId="{3F11C419-1C04-4A3E-AF33-3215D40C8532}"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8313352-7F37-49F1-AF78-C2887D70FAF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DA5280FB-5CF3-429A-B389-EA4E0F4DBC9C}">
      <dgm:prSet/>
      <dgm:spPr/>
      <dgm:t>
        <a:bodyPr/>
        <a:lstStyle/>
        <a:p>
          <a:r>
            <a:rPr lang="en-US" b="1" i="1"/>
            <a:t>ICE can demand identification:</a:t>
          </a:r>
          <a:endParaRPr lang="en-US"/>
        </a:p>
      </dgm:t>
    </dgm:pt>
    <dgm:pt modelId="{C5C238AC-7BCB-4BB8-9D0C-C530664F65EB}" type="parTrans" cxnId="{E9392862-E439-4F7F-A27C-A1694EB859E7}">
      <dgm:prSet/>
      <dgm:spPr/>
      <dgm:t>
        <a:bodyPr/>
        <a:lstStyle/>
        <a:p>
          <a:endParaRPr lang="en-US"/>
        </a:p>
      </dgm:t>
    </dgm:pt>
    <dgm:pt modelId="{EFB7E603-B03C-4306-8EE1-E7F55DE3248B}" type="sibTrans" cxnId="{E9392862-E439-4F7F-A27C-A1694EB859E7}">
      <dgm:prSet/>
      <dgm:spPr/>
      <dgm:t>
        <a:bodyPr/>
        <a:lstStyle/>
        <a:p>
          <a:endParaRPr lang="en-US"/>
        </a:p>
      </dgm:t>
    </dgm:pt>
    <dgm:pt modelId="{157C2B6F-4D87-4631-90CB-C13885C834C9}">
      <dgm:prSet/>
      <dgm:spPr/>
      <dgm:t>
        <a:bodyPr/>
        <a:lstStyle/>
        <a:p>
          <a:r>
            <a:rPr lang="en-US"/>
            <a:t>Immigrants often must carry identification on them, including copies of a green card and/or proof of registration.</a:t>
          </a:r>
        </a:p>
      </dgm:t>
    </dgm:pt>
    <dgm:pt modelId="{6F978F00-0997-48EA-B357-20D8E947FE3D}" type="parTrans" cxnId="{1AC7DE1C-3F8E-4089-9E09-9BE7E0A15129}">
      <dgm:prSet/>
      <dgm:spPr/>
      <dgm:t>
        <a:bodyPr/>
        <a:lstStyle/>
        <a:p>
          <a:endParaRPr lang="en-US"/>
        </a:p>
      </dgm:t>
    </dgm:pt>
    <dgm:pt modelId="{06A011F2-CEA4-44F3-90CB-832D7ED4900F}" type="sibTrans" cxnId="{1AC7DE1C-3F8E-4089-9E09-9BE7E0A15129}">
      <dgm:prSet/>
      <dgm:spPr/>
      <dgm:t>
        <a:bodyPr/>
        <a:lstStyle/>
        <a:p>
          <a:endParaRPr lang="en-US"/>
        </a:p>
      </dgm:t>
    </dgm:pt>
    <dgm:pt modelId="{311A4162-F4E6-496E-A2DB-495B1647157D}">
      <dgm:prSet/>
      <dgm:spPr/>
      <dgm:t>
        <a:bodyPr/>
        <a:lstStyle/>
        <a:p>
          <a:r>
            <a:rPr lang="en-US"/>
            <a:t>Depending on the facts and circumstances, ICE officers, when they have probable cause to believe a person is here unlawfully, can ask for identification. </a:t>
          </a:r>
        </a:p>
      </dgm:t>
    </dgm:pt>
    <dgm:pt modelId="{E52B28FB-7F92-49FC-95FE-EDDC76332C63}" type="parTrans" cxnId="{53810D08-F2D7-45BB-A3EC-DAD3B736EB20}">
      <dgm:prSet/>
      <dgm:spPr/>
      <dgm:t>
        <a:bodyPr/>
        <a:lstStyle/>
        <a:p>
          <a:endParaRPr lang="en-US"/>
        </a:p>
      </dgm:t>
    </dgm:pt>
    <dgm:pt modelId="{C07CD696-33AA-455D-A06F-BE478DF37A32}" type="sibTrans" cxnId="{53810D08-F2D7-45BB-A3EC-DAD3B736EB20}">
      <dgm:prSet/>
      <dgm:spPr/>
      <dgm:t>
        <a:bodyPr/>
        <a:lstStyle/>
        <a:p>
          <a:endParaRPr lang="en-US"/>
        </a:p>
      </dgm:t>
    </dgm:pt>
    <dgm:pt modelId="{59A8A362-BAE7-413F-97BC-75E6D0D489E5}">
      <dgm:prSet/>
      <dgm:spPr/>
      <dgm:t>
        <a:bodyPr/>
        <a:lstStyle/>
        <a:p>
          <a:r>
            <a:rPr lang="en-US" b="1" i="1"/>
            <a:t>ICE can interrogate:</a:t>
          </a:r>
          <a:endParaRPr lang="en-US"/>
        </a:p>
      </dgm:t>
    </dgm:pt>
    <dgm:pt modelId="{ECB8672F-B6AD-477F-8D09-7F1685EFD70D}" type="parTrans" cxnId="{89A3B10D-AC8E-4F49-8E1D-D3051FAB23F3}">
      <dgm:prSet/>
      <dgm:spPr/>
      <dgm:t>
        <a:bodyPr/>
        <a:lstStyle/>
        <a:p>
          <a:endParaRPr lang="en-US"/>
        </a:p>
      </dgm:t>
    </dgm:pt>
    <dgm:pt modelId="{F8B4CB0F-DF7D-4632-A74C-4711EA0F820F}" type="sibTrans" cxnId="{89A3B10D-AC8E-4F49-8E1D-D3051FAB23F3}">
      <dgm:prSet/>
      <dgm:spPr/>
      <dgm:t>
        <a:bodyPr/>
        <a:lstStyle/>
        <a:p>
          <a:endParaRPr lang="en-US"/>
        </a:p>
      </dgm:t>
    </dgm:pt>
    <dgm:pt modelId="{BE4D3FB1-2ECA-43B1-8056-5359D68D1B4F}">
      <dgm:prSet/>
      <dgm:spPr/>
      <dgm:t>
        <a:bodyPr/>
        <a:lstStyle/>
        <a:p>
          <a:r>
            <a:rPr lang="en-US"/>
            <a:t>ICE officers may interrogate a noncitizen or person believed to be a noncitizen as to their “right to be, or to remain in the United States” without a warrant. (</a:t>
          </a:r>
          <a:r>
            <a:rPr lang="en-US" i="1"/>
            <a:t>NOTE: individuals have a right to remain silent and to a lawyer even if undocumented</a:t>
          </a:r>
          <a:r>
            <a:rPr lang="en-US"/>
            <a:t>).</a:t>
          </a:r>
        </a:p>
      </dgm:t>
    </dgm:pt>
    <dgm:pt modelId="{AAFAE3CF-C305-41CA-B6CB-B497AF52F579}" type="parTrans" cxnId="{F1530FA7-6A79-4ABE-AFE2-89A2F86CD044}">
      <dgm:prSet/>
      <dgm:spPr/>
      <dgm:t>
        <a:bodyPr/>
        <a:lstStyle/>
        <a:p>
          <a:endParaRPr lang="en-US"/>
        </a:p>
      </dgm:t>
    </dgm:pt>
    <dgm:pt modelId="{A3DE5026-E120-4D4E-9C12-2701EFB83F2B}" type="sibTrans" cxnId="{F1530FA7-6A79-4ABE-AFE2-89A2F86CD044}">
      <dgm:prSet/>
      <dgm:spPr/>
      <dgm:t>
        <a:bodyPr/>
        <a:lstStyle/>
        <a:p>
          <a:endParaRPr lang="en-US"/>
        </a:p>
      </dgm:t>
    </dgm:pt>
    <dgm:pt modelId="{6005A7D6-F4C2-4F4D-985C-DE4C62A1777B}">
      <dgm:prSet/>
      <dgm:spPr/>
      <dgm:t>
        <a:bodyPr/>
        <a:lstStyle/>
        <a:p>
          <a:r>
            <a:rPr lang="en-US"/>
            <a:t>ICE cannot approach any individual based on race or nationality alone.  However, ICE can approach a person based on factors unknown to the interrogated person.  </a:t>
          </a:r>
        </a:p>
      </dgm:t>
    </dgm:pt>
    <dgm:pt modelId="{17484AE1-B853-4240-9F55-43768248CCAC}" type="parTrans" cxnId="{7C46937B-DAB2-4DC3-82D7-B35CCE9B4A90}">
      <dgm:prSet/>
      <dgm:spPr/>
      <dgm:t>
        <a:bodyPr/>
        <a:lstStyle/>
        <a:p>
          <a:endParaRPr lang="en-US"/>
        </a:p>
      </dgm:t>
    </dgm:pt>
    <dgm:pt modelId="{AE4FC718-A254-449B-9AB3-3C16A022FE85}" type="sibTrans" cxnId="{7C46937B-DAB2-4DC3-82D7-B35CCE9B4A90}">
      <dgm:prSet/>
      <dgm:spPr/>
      <dgm:t>
        <a:bodyPr/>
        <a:lstStyle/>
        <a:p>
          <a:endParaRPr lang="en-US"/>
        </a:p>
      </dgm:t>
    </dgm:pt>
    <dgm:pt modelId="{795D899F-59F2-4D7F-A5AE-0C3B371D4FBC}">
      <dgm:prSet/>
      <dgm:spPr/>
      <dgm:t>
        <a:bodyPr/>
        <a:lstStyle/>
        <a:p>
          <a:endParaRPr lang="en-US"/>
        </a:p>
      </dgm:t>
    </dgm:pt>
    <dgm:pt modelId="{FF2934C0-02DE-444B-A59C-D89BBF0CD429}" type="parTrans" cxnId="{780C8B62-8136-4003-BB4E-E6B8D27175D8}">
      <dgm:prSet/>
      <dgm:spPr/>
      <dgm:t>
        <a:bodyPr/>
        <a:lstStyle/>
        <a:p>
          <a:endParaRPr lang="en-US"/>
        </a:p>
      </dgm:t>
    </dgm:pt>
    <dgm:pt modelId="{D546C90C-51F0-4AD0-9DD7-469C840CF2CF}" type="sibTrans" cxnId="{780C8B62-8136-4003-BB4E-E6B8D27175D8}">
      <dgm:prSet/>
      <dgm:spPr/>
      <dgm:t>
        <a:bodyPr/>
        <a:lstStyle/>
        <a:p>
          <a:endParaRPr lang="en-US"/>
        </a:p>
      </dgm:t>
    </dgm:pt>
    <dgm:pt modelId="{F418414F-45AA-44C3-BA5E-38625DE2D6D6}">
      <dgm:prSet/>
      <dgm:spPr/>
      <dgm:t>
        <a:bodyPr/>
        <a:lstStyle/>
        <a:p>
          <a:endParaRPr lang="en-US"/>
        </a:p>
      </dgm:t>
    </dgm:pt>
    <dgm:pt modelId="{D73456A4-FA6F-4C59-8271-907C8A708C56}" type="parTrans" cxnId="{C6D297D3-B7E5-471C-A8D5-7B59C957E1A0}">
      <dgm:prSet/>
      <dgm:spPr/>
      <dgm:t>
        <a:bodyPr/>
        <a:lstStyle/>
        <a:p>
          <a:endParaRPr lang="en-US"/>
        </a:p>
      </dgm:t>
    </dgm:pt>
    <dgm:pt modelId="{19DD0F58-6D0D-4EC8-8622-B7E2BD14CCB0}" type="sibTrans" cxnId="{C6D297D3-B7E5-471C-A8D5-7B59C957E1A0}">
      <dgm:prSet/>
      <dgm:spPr/>
      <dgm:t>
        <a:bodyPr/>
        <a:lstStyle/>
        <a:p>
          <a:endParaRPr lang="en-US"/>
        </a:p>
      </dgm:t>
    </dgm:pt>
    <dgm:pt modelId="{6597FEAB-27E6-4E14-A3D2-A8255106EC1E}" type="pres">
      <dgm:prSet presAssocID="{78313352-7F37-49F1-AF78-C2887D70FAFB}" presName="Name0" presStyleCnt="0">
        <dgm:presLayoutVars>
          <dgm:dir/>
          <dgm:animLvl val="lvl"/>
          <dgm:resizeHandles val="exact"/>
        </dgm:presLayoutVars>
      </dgm:prSet>
      <dgm:spPr/>
    </dgm:pt>
    <dgm:pt modelId="{2382B9B7-85D6-4134-A3B4-B0E287787796}" type="pres">
      <dgm:prSet presAssocID="{DA5280FB-5CF3-429A-B389-EA4E0F4DBC9C}" presName="composite" presStyleCnt="0"/>
      <dgm:spPr/>
    </dgm:pt>
    <dgm:pt modelId="{E3D6E35A-DD82-4B45-81A9-80ACE1A02143}" type="pres">
      <dgm:prSet presAssocID="{DA5280FB-5CF3-429A-B389-EA4E0F4DBC9C}" presName="parTx" presStyleLbl="alignNode1" presStyleIdx="0" presStyleCnt="2">
        <dgm:presLayoutVars>
          <dgm:chMax val="0"/>
          <dgm:chPref val="0"/>
          <dgm:bulletEnabled val="1"/>
        </dgm:presLayoutVars>
      </dgm:prSet>
      <dgm:spPr/>
    </dgm:pt>
    <dgm:pt modelId="{80D9EE47-E1BA-4623-99E0-21A122EB8B19}" type="pres">
      <dgm:prSet presAssocID="{DA5280FB-5CF3-429A-B389-EA4E0F4DBC9C}" presName="desTx" presStyleLbl="alignAccFollowNode1" presStyleIdx="0" presStyleCnt="2">
        <dgm:presLayoutVars>
          <dgm:bulletEnabled val="1"/>
        </dgm:presLayoutVars>
      </dgm:prSet>
      <dgm:spPr/>
    </dgm:pt>
    <dgm:pt modelId="{B21F3B9E-5DE0-478B-918E-3E2F097A7946}" type="pres">
      <dgm:prSet presAssocID="{EFB7E603-B03C-4306-8EE1-E7F55DE3248B}" presName="space" presStyleCnt="0"/>
      <dgm:spPr/>
    </dgm:pt>
    <dgm:pt modelId="{6758443D-BE87-438A-86DA-39ED9B42777E}" type="pres">
      <dgm:prSet presAssocID="{59A8A362-BAE7-413F-97BC-75E6D0D489E5}" presName="composite" presStyleCnt="0"/>
      <dgm:spPr/>
    </dgm:pt>
    <dgm:pt modelId="{59019A88-07A4-43D8-88C4-9BF209DC27E5}" type="pres">
      <dgm:prSet presAssocID="{59A8A362-BAE7-413F-97BC-75E6D0D489E5}" presName="parTx" presStyleLbl="alignNode1" presStyleIdx="1" presStyleCnt="2">
        <dgm:presLayoutVars>
          <dgm:chMax val="0"/>
          <dgm:chPref val="0"/>
          <dgm:bulletEnabled val="1"/>
        </dgm:presLayoutVars>
      </dgm:prSet>
      <dgm:spPr/>
    </dgm:pt>
    <dgm:pt modelId="{855F6275-9653-4E64-953F-F03D94C52F30}" type="pres">
      <dgm:prSet presAssocID="{59A8A362-BAE7-413F-97BC-75E6D0D489E5}" presName="desTx" presStyleLbl="alignAccFollowNode1" presStyleIdx="1" presStyleCnt="2">
        <dgm:presLayoutVars>
          <dgm:bulletEnabled val="1"/>
        </dgm:presLayoutVars>
      </dgm:prSet>
      <dgm:spPr/>
    </dgm:pt>
  </dgm:ptLst>
  <dgm:cxnLst>
    <dgm:cxn modelId="{4D2A4600-60BC-46E3-927B-F975986EBED7}" type="presOf" srcId="{795D899F-59F2-4D7F-A5AE-0C3B371D4FBC}" destId="{80D9EE47-E1BA-4623-99E0-21A122EB8B19}" srcOrd="0" destOrd="1" presId="urn:microsoft.com/office/officeart/2005/8/layout/hList1"/>
    <dgm:cxn modelId="{5CCAC107-AAA7-4CA4-8044-F5F08CC105E9}" type="presOf" srcId="{59A8A362-BAE7-413F-97BC-75E6D0D489E5}" destId="{59019A88-07A4-43D8-88C4-9BF209DC27E5}" srcOrd="0" destOrd="0" presId="urn:microsoft.com/office/officeart/2005/8/layout/hList1"/>
    <dgm:cxn modelId="{53810D08-F2D7-45BB-A3EC-DAD3B736EB20}" srcId="{DA5280FB-5CF3-429A-B389-EA4E0F4DBC9C}" destId="{311A4162-F4E6-496E-A2DB-495B1647157D}" srcOrd="2" destOrd="0" parTransId="{E52B28FB-7F92-49FC-95FE-EDDC76332C63}" sibTransId="{C07CD696-33AA-455D-A06F-BE478DF37A32}"/>
    <dgm:cxn modelId="{89A3B10D-AC8E-4F49-8E1D-D3051FAB23F3}" srcId="{78313352-7F37-49F1-AF78-C2887D70FAFB}" destId="{59A8A362-BAE7-413F-97BC-75E6D0D489E5}" srcOrd="1" destOrd="0" parTransId="{ECB8672F-B6AD-477F-8D09-7F1685EFD70D}" sibTransId="{F8B4CB0F-DF7D-4632-A74C-4711EA0F820F}"/>
    <dgm:cxn modelId="{1AC7DE1C-3F8E-4089-9E09-9BE7E0A15129}" srcId="{DA5280FB-5CF3-429A-B389-EA4E0F4DBC9C}" destId="{157C2B6F-4D87-4631-90CB-C13885C834C9}" srcOrd="0" destOrd="0" parTransId="{6F978F00-0997-48EA-B357-20D8E947FE3D}" sibTransId="{06A011F2-CEA4-44F3-90CB-832D7ED4900F}"/>
    <dgm:cxn modelId="{75502923-0025-4DBA-969C-ECF3E762B161}" type="presOf" srcId="{157C2B6F-4D87-4631-90CB-C13885C834C9}" destId="{80D9EE47-E1BA-4623-99E0-21A122EB8B19}" srcOrd="0" destOrd="0" presId="urn:microsoft.com/office/officeart/2005/8/layout/hList1"/>
    <dgm:cxn modelId="{C1DFD432-FCC6-4FE1-828F-A2570E3CCA4C}" type="presOf" srcId="{6005A7D6-F4C2-4F4D-985C-DE4C62A1777B}" destId="{855F6275-9653-4E64-953F-F03D94C52F30}" srcOrd="0" destOrd="2" presId="urn:microsoft.com/office/officeart/2005/8/layout/hList1"/>
    <dgm:cxn modelId="{8CECC43E-1533-4A33-A5C2-D071ECFB8560}" type="presOf" srcId="{BE4D3FB1-2ECA-43B1-8056-5359D68D1B4F}" destId="{855F6275-9653-4E64-953F-F03D94C52F30}" srcOrd="0" destOrd="0" presId="urn:microsoft.com/office/officeart/2005/8/layout/hList1"/>
    <dgm:cxn modelId="{E9392862-E439-4F7F-A27C-A1694EB859E7}" srcId="{78313352-7F37-49F1-AF78-C2887D70FAFB}" destId="{DA5280FB-5CF3-429A-B389-EA4E0F4DBC9C}" srcOrd="0" destOrd="0" parTransId="{C5C238AC-7BCB-4BB8-9D0C-C530664F65EB}" sibTransId="{EFB7E603-B03C-4306-8EE1-E7F55DE3248B}"/>
    <dgm:cxn modelId="{780C8B62-8136-4003-BB4E-E6B8D27175D8}" srcId="{DA5280FB-5CF3-429A-B389-EA4E0F4DBC9C}" destId="{795D899F-59F2-4D7F-A5AE-0C3B371D4FBC}" srcOrd="1" destOrd="0" parTransId="{FF2934C0-02DE-444B-A59C-D89BBF0CD429}" sibTransId="{D546C90C-51F0-4AD0-9DD7-469C840CF2CF}"/>
    <dgm:cxn modelId="{C1F8AB43-887C-4A47-9B69-045C43532357}" type="presOf" srcId="{DA5280FB-5CF3-429A-B389-EA4E0F4DBC9C}" destId="{E3D6E35A-DD82-4B45-81A9-80ACE1A02143}" srcOrd="0" destOrd="0" presId="urn:microsoft.com/office/officeart/2005/8/layout/hList1"/>
    <dgm:cxn modelId="{7C46937B-DAB2-4DC3-82D7-B35CCE9B4A90}" srcId="{59A8A362-BAE7-413F-97BC-75E6D0D489E5}" destId="{6005A7D6-F4C2-4F4D-985C-DE4C62A1777B}" srcOrd="2" destOrd="0" parTransId="{17484AE1-B853-4240-9F55-43768248CCAC}" sibTransId="{AE4FC718-A254-449B-9AB3-3C16A022FE85}"/>
    <dgm:cxn modelId="{F1530FA7-6A79-4ABE-AFE2-89A2F86CD044}" srcId="{59A8A362-BAE7-413F-97BC-75E6D0D489E5}" destId="{BE4D3FB1-2ECA-43B1-8056-5359D68D1B4F}" srcOrd="0" destOrd="0" parTransId="{AAFAE3CF-C305-41CA-B6CB-B497AF52F579}" sibTransId="{A3DE5026-E120-4D4E-9C12-2701EFB83F2B}"/>
    <dgm:cxn modelId="{A7AA90AF-8C7B-483E-B0ED-2D07E9677F41}" type="presOf" srcId="{F418414F-45AA-44C3-BA5E-38625DE2D6D6}" destId="{855F6275-9653-4E64-953F-F03D94C52F30}" srcOrd="0" destOrd="1" presId="urn:microsoft.com/office/officeart/2005/8/layout/hList1"/>
    <dgm:cxn modelId="{7C88E3B2-BF32-4B4C-8227-B147B8E1ED4F}" type="presOf" srcId="{78313352-7F37-49F1-AF78-C2887D70FAFB}" destId="{6597FEAB-27E6-4E14-A3D2-A8255106EC1E}" srcOrd="0" destOrd="0" presId="urn:microsoft.com/office/officeart/2005/8/layout/hList1"/>
    <dgm:cxn modelId="{3453DABA-DFE6-4860-9463-E7C4AFF64CDE}" type="presOf" srcId="{311A4162-F4E6-496E-A2DB-495B1647157D}" destId="{80D9EE47-E1BA-4623-99E0-21A122EB8B19}" srcOrd="0" destOrd="2" presId="urn:microsoft.com/office/officeart/2005/8/layout/hList1"/>
    <dgm:cxn modelId="{C6D297D3-B7E5-471C-A8D5-7B59C957E1A0}" srcId="{59A8A362-BAE7-413F-97BC-75E6D0D489E5}" destId="{F418414F-45AA-44C3-BA5E-38625DE2D6D6}" srcOrd="1" destOrd="0" parTransId="{D73456A4-FA6F-4C59-8271-907C8A708C56}" sibTransId="{19DD0F58-6D0D-4EC8-8622-B7E2BD14CCB0}"/>
    <dgm:cxn modelId="{9BA2DF60-D00F-4724-886E-3F0E07F77FE4}" type="presParOf" srcId="{6597FEAB-27E6-4E14-A3D2-A8255106EC1E}" destId="{2382B9B7-85D6-4134-A3B4-B0E287787796}" srcOrd="0" destOrd="0" presId="urn:microsoft.com/office/officeart/2005/8/layout/hList1"/>
    <dgm:cxn modelId="{A16B8593-B031-4D32-BEDA-F38238988E9B}" type="presParOf" srcId="{2382B9B7-85D6-4134-A3B4-B0E287787796}" destId="{E3D6E35A-DD82-4B45-81A9-80ACE1A02143}" srcOrd="0" destOrd="0" presId="urn:microsoft.com/office/officeart/2005/8/layout/hList1"/>
    <dgm:cxn modelId="{E48D4BBB-6F87-4134-A9A3-E9C1706DC0A5}" type="presParOf" srcId="{2382B9B7-85D6-4134-A3B4-B0E287787796}" destId="{80D9EE47-E1BA-4623-99E0-21A122EB8B19}" srcOrd="1" destOrd="0" presId="urn:microsoft.com/office/officeart/2005/8/layout/hList1"/>
    <dgm:cxn modelId="{CB2A086F-C4AD-4CB3-8E9A-77FADF787CC6}" type="presParOf" srcId="{6597FEAB-27E6-4E14-A3D2-A8255106EC1E}" destId="{B21F3B9E-5DE0-478B-918E-3E2F097A7946}" srcOrd="1" destOrd="0" presId="urn:microsoft.com/office/officeart/2005/8/layout/hList1"/>
    <dgm:cxn modelId="{DF20A446-CAB6-4579-805E-63F8729B6088}" type="presParOf" srcId="{6597FEAB-27E6-4E14-A3D2-A8255106EC1E}" destId="{6758443D-BE87-438A-86DA-39ED9B42777E}" srcOrd="2" destOrd="0" presId="urn:microsoft.com/office/officeart/2005/8/layout/hList1"/>
    <dgm:cxn modelId="{B744706D-8FAC-4B1E-843E-28F73E3F29A5}" type="presParOf" srcId="{6758443D-BE87-438A-86DA-39ED9B42777E}" destId="{59019A88-07A4-43D8-88C4-9BF209DC27E5}" srcOrd="0" destOrd="0" presId="urn:microsoft.com/office/officeart/2005/8/layout/hList1"/>
    <dgm:cxn modelId="{674CB1BA-47B8-450E-B7CA-F627AFBCD2EB}" type="presParOf" srcId="{6758443D-BE87-438A-86DA-39ED9B42777E}" destId="{855F6275-9653-4E64-953F-F03D94C52F30}"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434A57E-7789-4120-BE06-5C9879C039F7}" type="doc">
      <dgm:prSet loTypeId="urn:microsoft.com/office/officeart/2016/7/layout/BasicLinearProcessNumbered" loCatId="process" qsTypeId="urn:microsoft.com/office/officeart/2005/8/quickstyle/simple1" qsCatId="simple" csTypeId="urn:microsoft.com/office/officeart/2005/8/colors/accent3_2" csCatId="accent3" phldr="1"/>
      <dgm:spPr/>
      <dgm:t>
        <a:bodyPr/>
        <a:lstStyle/>
        <a:p>
          <a:endParaRPr lang="en-US"/>
        </a:p>
      </dgm:t>
    </dgm:pt>
    <dgm:pt modelId="{075FD06E-E20C-47B7-A1D7-0E0F2D6F64A6}">
      <dgm:prSet phldrT="[Text]"/>
      <dgm:spPr/>
      <dgm:t>
        <a:bodyPr/>
        <a:lstStyle/>
        <a:p>
          <a:r>
            <a:rPr lang="en-US"/>
            <a:t>ICE must have an administrative warrant to arrest someone on the streets if they do not have evidence to believe the person is a flight risk</a:t>
          </a:r>
        </a:p>
      </dgm:t>
    </dgm:pt>
    <dgm:pt modelId="{D9E9A047-8CFA-4FC4-A6E6-015A6DE602B7}" type="parTrans" cxnId="{037E5165-81AC-4695-BAD3-8C7456AFCCEA}">
      <dgm:prSet/>
      <dgm:spPr/>
      <dgm:t>
        <a:bodyPr/>
        <a:lstStyle/>
        <a:p>
          <a:endParaRPr lang="en-US"/>
        </a:p>
      </dgm:t>
    </dgm:pt>
    <dgm:pt modelId="{AA274339-B88B-4CAF-96D3-615E0901B069}" type="sibTrans" cxnId="{037E5165-81AC-4695-BAD3-8C7456AFCCEA}">
      <dgm:prSet phldrT="3"/>
      <dgm:spPr/>
      <dgm:t>
        <a:bodyPr/>
        <a:lstStyle/>
        <a:p>
          <a:r>
            <a:rPr lang="en-US"/>
            <a:t>3</a:t>
          </a:r>
        </a:p>
      </dgm:t>
    </dgm:pt>
    <dgm:pt modelId="{1426E419-7363-47E4-A929-4D804CDCF6CF}">
      <dgm:prSet/>
      <dgm:spPr/>
      <dgm:t>
        <a:bodyPr/>
        <a:lstStyle/>
        <a:p>
          <a:r>
            <a:rPr lang="en-US"/>
            <a:t>ICE must have a judicial warrant to enter a home</a:t>
          </a:r>
        </a:p>
      </dgm:t>
    </dgm:pt>
    <dgm:pt modelId="{D5089EF2-38BD-42E7-A6AE-6CDF45D31AB0}" type="parTrans" cxnId="{32349B80-10AA-47C8-98BF-49DFA8F40601}">
      <dgm:prSet/>
      <dgm:spPr/>
      <dgm:t>
        <a:bodyPr/>
        <a:lstStyle/>
        <a:p>
          <a:endParaRPr lang="en-US"/>
        </a:p>
      </dgm:t>
    </dgm:pt>
    <dgm:pt modelId="{9F45DCE8-964B-4F04-94BB-FB7DE117A566}" type="sibTrans" cxnId="{32349B80-10AA-47C8-98BF-49DFA8F40601}">
      <dgm:prSet phldrT="2"/>
      <dgm:spPr/>
      <dgm:t>
        <a:bodyPr/>
        <a:lstStyle/>
        <a:p>
          <a:r>
            <a:rPr lang="en-US"/>
            <a:t>2</a:t>
          </a:r>
        </a:p>
      </dgm:t>
    </dgm:pt>
    <dgm:pt modelId="{3D70558E-9A19-4018-B378-6A118DA5F5EF}">
      <dgm:prSet/>
      <dgm:spPr/>
      <dgm:t>
        <a:bodyPr/>
        <a:lstStyle/>
        <a:p>
          <a:r>
            <a:rPr lang="en-US"/>
            <a:t>ICE need only have reasonable suspicion to stop a car where they believe the driver or the passenger is a person present unlawfully</a:t>
          </a:r>
        </a:p>
      </dgm:t>
    </dgm:pt>
    <dgm:pt modelId="{82DF02AD-15EA-4FE6-9C9B-70EFAC817EB4}" type="parTrans" cxnId="{5F5A900B-B1B6-43F1-BE5C-C420B8F2C38D}">
      <dgm:prSet/>
      <dgm:spPr/>
      <dgm:t>
        <a:bodyPr/>
        <a:lstStyle/>
        <a:p>
          <a:endParaRPr lang="en-US"/>
        </a:p>
      </dgm:t>
    </dgm:pt>
    <dgm:pt modelId="{9C92EA2D-3F4B-4BBE-A49C-1EA0FAA2282C}" type="sibTrans" cxnId="{5F5A900B-B1B6-43F1-BE5C-C420B8F2C38D}">
      <dgm:prSet phldrT="1"/>
      <dgm:spPr/>
      <dgm:t>
        <a:bodyPr/>
        <a:lstStyle/>
        <a:p>
          <a:r>
            <a:rPr lang="en-US"/>
            <a:t>1</a:t>
          </a:r>
        </a:p>
      </dgm:t>
    </dgm:pt>
    <dgm:pt modelId="{C6839953-5F8B-420A-9869-5E1F2AB8B8E4}" type="pres">
      <dgm:prSet presAssocID="{E434A57E-7789-4120-BE06-5C9879C039F7}" presName="Name0" presStyleCnt="0">
        <dgm:presLayoutVars>
          <dgm:animLvl val="lvl"/>
          <dgm:resizeHandles val="exact"/>
        </dgm:presLayoutVars>
      </dgm:prSet>
      <dgm:spPr/>
    </dgm:pt>
    <dgm:pt modelId="{0BC9C025-FAC0-4659-9C46-F5677BFE9305}" type="pres">
      <dgm:prSet presAssocID="{3D70558E-9A19-4018-B378-6A118DA5F5EF}" presName="compositeNode" presStyleCnt="0">
        <dgm:presLayoutVars>
          <dgm:bulletEnabled val="1"/>
        </dgm:presLayoutVars>
      </dgm:prSet>
      <dgm:spPr/>
    </dgm:pt>
    <dgm:pt modelId="{36B85BDE-9536-4DFF-99D0-616C62EEEA2F}" type="pres">
      <dgm:prSet presAssocID="{3D70558E-9A19-4018-B378-6A118DA5F5EF}" presName="bgRect" presStyleLbl="bgAccFollowNode1" presStyleIdx="0" presStyleCnt="3"/>
      <dgm:spPr/>
    </dgm:pt>
    <dgm:pt modelId="{32B3C8D3-1DDD-4F90-AF1D-D04D3D0BC573}" type="pres">
      <dgm:prSet presAssocID="{9C92EA2D-3F4B-4BBE-A49C-1EA0FAA2282C}" presName="sibTransNodeCircle" presStyleLbl="alignNode1" presStyleIdx="0" presStyleCnt="6">
        <dgm:presLayoutVars>
          <dgm:chMax val="0"/>
          <dgm:bulletEnabled/>
        </dgm:presLayoutVars>
      </dgm:prSet>
      <dgm:spPr/>
    </dgm:pt>
    <dgm:pt modelId="{DDC8E480-E958-43F9-AF52-EB3F896C8687}" type="pres">
      <dgm:prSet presAssocID="{3D70558E-9A19-4018-B378-6A118DA5F5EF}" presName="bottomLine" presStyleLbl="alignNode1" presStyleIdx="1" presStyleCnt="6">
        <dgm:presLayoutVars/>
      </dgm:prSet>
      <dgm:spPr/>
    </dgm:pt>
    <dgm:pt modelId="{48AF6769-0663-4824-A4BD-ED7B3899578E}" type="pres">
      <dgm:prSet presAssocID="{3D70558E-9A19-4018-B378-6A118DA5F5EF}" presName="nodeText" presStyleLbl="bgAccFollowNode1" presStyleIdx="0" presStyleCnt="3">
        <dgm:presLayoutVars>
          <dgm:bulletEnabled val="1"/>
        </dgm:presLayoutVars>
      </dgm:prSet>
      <dgm:spPr/>
    </dgm:pt>
    <dgm:pt modelId="{E2E39047-80C6-4521-B553-68E9C2BD0BD3}" type="pres">
      <dgm:prSet presAssocID="{9C92EA2D-3F4B-4BBE-A49C-1EA0FAA2282C}" presName="sibTrans" presStyleCnt="0"/>
      <dgm:spPr/>
    </dgm:pt>
    <dgm:pt modelId="{09E4ED91-1FB2-4D4A-B6A5-CFDE0AB9589F}" type="pres">
      <dgm:prSet presAssocID="{1426E419-7363-47E4-A929-4D804CDCF6CF}" presName="compositeNode" presStyleCnt="0">
        <dgm:presLayoutVars>
          <dgm:bulletEnabled val="1"/>
        </dgm:presLayoutVars>
      </dgm:prSet>
      <dgm:spPr/>
    </dgm:pt>
    <dgm:pt modelId="{29B1EBEE-BFC3-4FD2-B282-C3E61B90962E}" type="pres">
      <dgm:prSet presAssocID="{1426E419-7363-47E4-A929-4D804CDCF6CF}" presName="bgRect" presStyleLbl="bgAccFollowNode1" presStyleIdx="1" presStyleCnt="3"/>
      <dgm:spPr/>
    </dgm:pt>
    <dgm:pt modelId="{52044489-B2A6-4DD7-9B68-4D5A54C564BB}" type="pres">
      <dgm:prSet presAssocID="{9F45DCE8-964B-4F04-94BB-FB7DE117A566}" presName="sibTransNodeCircle" presStyleLbl="alignNode1" presStyleIdx="2" presStyleCnt="6">
        <dgm:presLayoutVars>
          <dgm:chMax val="0"/>
          <dgm:bulletEnabled/>
        </dgm:presLayoutVars>
      </dgm:prSet>
      <dgm:spPr/>
    </dgm:pt>
    <dgm:pt modelId="{914BFE6C-CAD5-4835-A6AC-0F4D4B283BC4}" type="pres">
      <dgm:prSet presAssocID="{1426E419-7363-47E4-A929-4D804CDCF6CF}" presName="bottomLine" presStyleLbl="alignNode1" presStyleIdx="3" presStyleCnt="6">
        <dgm:presLayoutVars/>
      </dgm:prSet>
      <dgm:spPr/>
    </dgm:pt>
    <dgm:pt modelId="{6CE81797-8B85-4CA1-BB46-5749AD93EFB2}" type="pres">
      <dgm:prSet presAssocID="{1426E419-7363-47E4-A929-4D804CDCF6CF}" presName="nodeText" presStyleLbl="bgAccFollowNode1" presStyleIdx="1" presStyleCnt="3">
        <dgm:presLayoutVars>
          <dgm:bulletEnabled val="1"/>
        </dgm:presLayoutVars>
      </dgm:prSet>
      <dgm:spPr/>
    </dgm:pt>
    <dgm:pt modelId="{C687F5D8-1609-4033-B995-98983FCAD059}" type="pres">
      <dgm:prSet presAssocID="{9F45DCE8-964B-4F04-94BB-FB7DE117A566}" presName="sibTrans" presStyleCnt="0"/>
      <dgm:spPr/>
    </dgm:pt>
    <dgm:pt modelId="{384A6EC1-678B-4D1B-9057-93F0738686D2}" type="pres">
      <dgm:prSet presAssocID="{075FD06E-E20C-47B7-A1D7-0E0F2D6F64A6}" presName="compositeNode" presStyleCnt="0">
        <dgm:presLayoutVars>
          <dgm:bulletEnabled val="1"/>
        </dgm:presLayoutVars>
      </dgm:prSet>
      <dgm:spPr/>
    </dgm:pt>
    <dgm:pt modelId="{5CF6E413-6979-48E7-84A5-9B88A17A0736}" type="pres">
      <dgm:prSet presAssocID="{075FD06E-E20C-47B7-A1D7-0E0F2D6F64A6}" presName="bgRect" presStyleLbl="bgAccFollowNode1" presStyleIdx="2" presStyleCnt="3"/>
      <dgm:spPr/>
    </dgm:pt>
    <dgm:pt modelId="{48C967B5-6197-4996-B4F8-63D0D19234EF}" type="pres">
      <dgm:prSet presAssocID="{AA274339-B88B-4CAF-96D3-615E0901B069}" presName="sibTransNodeCircle" presStyleLbl="alignNode1" presStyleIdx="4" presStyleCnt="6">
        <dgm:presLayoutVars>
          <dgm:chMax val="0"/>
          <dgm:bulletEnabled/>
        </dgm:presLayoutVars>
      </dgm:prSet>
      <dgm:spPr/>
    </dgm:pt>
    <dgm:pt modelId="{E5C38CF9-CE20-4A90-89F7-6EDF65FB5E4F}" type="pres">
      <dgm:prSet presAssocID="{075FD06E-E20C-47B7-A1D7-0E0F2D6F64A6}" presName="bottomLine" presStyleLbl="alignNode1" presStyleIdx="5" presStyleCnt="6">
        <dgm:presLayoutVars/>
      </dgm:prSet>
      <dgm:spPr/>
    </dgm:pt>
    <dgm:pt modelId="{5DD375D0-73D9-4254-9E30-A31FCAFB3B6D}" type="pres">
      <dgm:prSet presAssocID="{075FD06E-E20C-47B7-A1D7-0E0F2D6F64A6}" presName="nodeText" presStyleLbl="bgAccFollowNode1" presStyleIdx="2" presStyleCnt="3">
        <dgm:presLayoutVars>
          <dgm:bulletEnabled val="1"/>
        </dgm:presLayoutVars>
      </dgm:prSet>
      <dgm:spPr/>
    </dgm:pt>
  </dgm:ptLst>
  <dgm:cxnLst>
    <dgm:cxn modelId="{5F5A900B-B1B6-43F1-BE5C-C420B8F2C38D}" srcId="{E434A57E-7789-4120-BE06-5C9879C039F7}" destId="{3D70558E-9A19-4018-B378-6A118DA5F5EF}" srcOrd="0" destOrd="0" parTransId="{82DF02AD-15EA-4FE6-9C9B-70EFAC817EB4}" sibTransId="{9C92EA2D-3F4B-4BBE-A49C-1EA0FAA2282C}"/>
    <dgm:cxn modelId="{E4F8301B-2029-403F-B31A-E430A63BFD0D}" type="presOf" srcId="{9C92EA2D-3F4B-4BBE-A49C-1EA0FAA2282C}" destId="{32B3C8D3-1DDD-4F90-AF1D-D04D3D0BC573}" srcOrd="0" destOrd="0" presId="urn:microsoft.com/office/officeart/2016/7/layout/BasicLinearProcessNumbered"/>
    <dgm:cxn modelId="{A4C24F1E-E817-4A17-A2F7-780EDFF814C5}" type="presOf" srcId="{1426E419-7363-47E4-A929-4D804CDCF6CF}" destId="{29B1EBEE-BFC3-4FD2-B282-C3E61B90962E}" srcOrd="0" destOrd="0" presId="urn:microsoft.com/office/officeart/2016/7/layout/BasicLinearProcessNumbered"/>
    <dgm:cxn modelId="{9BCEBD28-AE11-465C-A524-84639616B769}" type="presOf" srcId="{3D70558E-9A19-4018-B378-6A118DA5F5EF}" destId="{36B85BDE-9536-4DFF-99D0-616C62EEEA2F}" srcOrd="0" destOrd="0" presId="urn:microsoft.com/office/officeart/2016/7/layout/BasicLinearProcessNumbered"/>
    <dgm:cxn modelId="{0A2E7939-0ED8-46E1-B253-FA022A17D257}" type="presOf" srcId="{E434A57E-7789-4120-BE06-5C9879C039F7}" destId="{C6839953-5F8B-420A-9869-5E1F2AB8B8E4}" srcOrd="0" destOrd="0" presId="urn:microsoft.com/office/officeart/2016/7/layout/BasicLinearProcessNumbered"/>
    <dgm:cxn modelId="{037E5165-81AC-4695-BAD3-8C7456AFCCEA}" srcId="{E434A57E-7789-4120-BE06-5C9879C039F7}" destId="{075FD06E-E20C-47B7-A1D7-0E0F2D6F64A6}" srcOrd="2" destOrd="0" parTransId="{D9E9A047-8CFA-4FC4-A6E6-015A6DE602B7}" sibTransId="{AA274339-B88B-4CAF-96D3-615E0901B069}"/>
    <dgm:cxn modelId="{04DBD76F-5F37-479C-95A0-1C0AFD478255}" type="presOf" srcId="{AA274339-B88B-4CAF-96D3-615E0901B069}" destId="{48C967B5-6197-4996-B4F8-63D0D19234EF}" srcOrd="0" destOrd="0" presId="urn:microsoft.com/office/officeart/2016/7/layout/BasicLinearProcessNumbered"/>
    <dgm:cxn modelId="{BBFCE958-0126-422E-91E3-A291D84215D5}" type="presOf" srcId="{075FD06E-E20C-47B7-A1D7-0E0F2D6F64A6}" destId="{5CF6E413-6979-48E7-84A5-9B88A17A0736}" srcOrd="0" destOrd="0" presId="urn:microsoft.com/office/officeart/2016/7/layout/BasicLinearProcessNumbered"/>
    <dgm:cxn modelId="{32349B80-10AA-47C8-98BF-49DFA8F40601}" srcId="{E434A57E-7789-4120-BE06-5C9879C039F7}" destId="{1426E419-7363-47E4-A929-4D804CDCF6CF}" srcOrd="1" destOrd="0" parTransId="{D5089EF2-38BD-42E7-A6AE-6CDF45D31AB0}" sibTransId="{9F45DCE8-964B-4F04-94BB-FB7DE117A566}"/>
    <dgm:cxn modelId="{AE317F96-1920-4650-99D7-E3F07CC9D018}" type="presOf" srcId="{075FD06E-E20C-47B7-A1D7-0E0F2D6F64A6}" destId="{5DD375D0-73D9-4254-9E30-A31FCAFB3B6D}" srcOrd="1" destOrd="0" presId="urn:microsoft.com/office/officeart/2016/7/layout/BasicLinearProcessNumbered"/>
    <dgm:cxn modelId="{E53169AE-A1E0-4606-BABA-ECCDECBC4B8E}" type="presOf" srcId="{3D70558E-9A19-4018-B378-6A118DA5F5EF}" destId="{48AF6769-0663-4824-A4BD-ED7B3899578E}" srcOrd="1" destOrd="0" presId="urn:microsoft.com/office/officeart/2016/7/layout/BasicLinearProcessNumbered"/>
    <dgm:cxn modelId="{1A50EFB4-5CF9-425B-A7C4-CE78ED633AD1}" type="presOf" srcId="{1426E419-7363-47E4-A929-4D804CDCF6CF}" destId="{6CE81797-8B85-4CA1-BB46-5749AD93EFB2}" srcOrd="1" destOrd="0" presId="urn:microsoft.com/office/officeart/2016/7/layout/BasicLinearProcessNumbered"/>
    <dgm:cxn modelId="{4454BAEF-6075-433B-AA74-F11D7B008D5E}" type="presOf" srcId="{9F45DCE8-964B-4F04-94BB-FB7DE117A566}" destId="{52044489-B2A6-4DD7-9B68-4D5A54C564BB}" srcOrd="0" destOrd="0" presId="urn:microsoft.com/office/officeart/2016/7/layout/BasicLinearProcessNumbered"/>
    <dgm:cxn modelId="{F54DDC6F-9A06-4D61-AF89-4EFDF80A9ADA}" type="presParOf" srcId="{C6839953-5F8B-420A-9869-5E1F2AB8B8E4}" destId="{0BC9C025-FAC0-4659-9C46-F5677BFE9305}" srcOrd="0" destOrd="0" presId="urn:microsoft.com/office/officeart/2016/7/layout/BasicLinearProcessNumbered"/>
    <dgm:cxn modelId="{E363DDA4-0C21-4CE4-8032-06C1574A2F49}" type="presParOf" srcId="{0BC9C025-FAC0-4659-9C46-F5677BFE9305}" destId="{36B85BDE-9536-4DFF-99D0-616C62EEEA2F}" srcOrd="0" destOrd="0" presId="urn:microsoft.com/office/officeart/2016/7/layout/BasicLinearProcessNumbered"/>
    <dgm:cxn modelId="{284CB373-D2F9-41DD-8F96-B78EAC34A118}" type="presParOf" srcId="{0BC9C025-FAC0-4659-9C46-F5677BFE9305}" destId="{32B3C8D3-1DDD-4F90-AF1D-D04D3D0BC573}" srcOrd="1" destOrd="0" presId="urn:microsoft.com/office/officeart/2016/7/layout/BasicLinearProcessNumbered"/>
    <dgm:cxn modelId="{2D9E0ECA-6ABA-4965-A143-A7A919B12404}" type="presParOf" srcId="{0BC9C025-FAC0-4659-9C46-F5677BFE9305}" destId="{DDC8E480-E958-43F9-AF52-EB3F896C8687}" srcOrd="2" destOrd="0" presId="urn:microsoft.com/office/officeart/2016/7/layout/BasicLinearProcessNumbered"/>
    <dgm:cxn modelId="{F4FAD47E-C6F9-4E5D-9962-BB67F48EBEB2}" type="presParOf" srcId="{0BC9C025-FAC0-4659-9C46-F5677BFE9305}" destId="{48AF6769-0663-4824-A4BD-ED7B3899578E}" srcOrd="3" destOrd="0" presId="urn:microsoft.com/office/officeart/2016/7/layout/BasicLinearProcessNumbered"/>
    <dgm:cxn modelId="{37DE7E68-2C90-457B-8A10-C0B2D1D3BD65}" type="presParOf" srcId="{C6839953-5F8B-420A-9869-5E1F2AB8B8E4}" destId="{E2E39047-80C6-4521-B553-68E9C2BD0BD3}" srcOrd="1" destOrd="0" presId="urn:microsoft.com/office/officeart/2016/7/layout/BasicLinearProcessNumbered"/>
    <dgm:cxn modelId="{7A017191-BBC7-4D28-9396-1D7285CDE5BF}" type="presParOf" srcId="{C6839953-5F8B-420A-9869-5E1F2AB8B8E4}" destId="{09E4ED91-1FB2-4D4A-B6A5-CFDE0AB9589F}" srcOrd="2" destOrd="0" presId="urn:microsoft.com/office/officeart/2016/7/layout/BasicLinearProcessNumbered"/>
    <dgm:cxn modelId="{279D1A9C-A732-4768-B768-12985CA322DC}" type="presParOf" srcId="{09E4ED91-1FB2-4D4A-B6A5-CFDE0AB9589F}" destId="{29B1EBEE-BFC3-4FD2-B282-C3E61B90962E}" srcOrd="0" destOrd="0" presId="urn:microsoft.com/office/officeart/2016/7/layout/BasicLinearProcessNumbered"/>
    <dgm:cxn modelId="{D4383F09-4213-4157-A365-212051DF6E09}" type="presParOf" srcId="{09E4ED91-1FB2-4D4A-B6A5-CFDE0AB9589F}" destId="{52044489-B2A6-4DD7-9B68-4D5A54C564BB}" srcOrd="1" destOrd="0" presId="urn:microsoft.com/office/officeart/2016/7/layout/BasicLinearProcessNumbered"/>
    <dgm:cxn modelId="{2B21A594-BF17-4F1D-BE9F-F14F436AE607}" type="presParOf" srcId="{09E4ED91-1FB2-4D4A-B6A5-CFDE0AB9589F}" destId="{914BFE6C-CAD5-4835-A6AC-0F4D4B283BC4}" srcOrd="2" destOrd="0" presId="urn:microsoft.com/office/officeart/2016/7/layout/BasicLinearProcessNumbered"/>
    <dgm:cxn modelId="{85B25482-715E-410E-9382-55C8C00D5FD8}" type="presParOf" srcId="{09E4ED91-1FB2-4D4A-B6A5-CFDE0AB9589F}" destId="{6CE81797-8B85-4CA1-BB46-5749AD93EFB2}" srcOrd="3" destOrd="0" presId="urn:microsoft.com/office/officeart/2016/7/layout/BasicLinearProcessNumbered"/>
    <dgm:cxn modelId="{5CB2E2F3-3C28-4D99-A0D4-C57A913435B0}" type="presParOf" srcId="{C6839953-5F8B-420A-9869-5E1F2AB8B8E4}" destId="{C687F5D8-1609-4033-B995-98983FCAD059}" srcOrd="3" destOrd="0" presId="urn:microsoft.com/office/officeart/2016/7/layout/BasicLinearProcessNumbered"/>
    <dgm:cxn modelId="{D44F2481-D769-4CCB-9CCE-9DA5EDBB882D}" type="presParOf" srcId="{C6839953-5F8B-420A-9869-5E1F2AB8B8E4}" destId="{384A6EC1-678B-4D1B-9057-93F0738686D2}" srcOrd="4" destOrd="0" presId="urn:microsoft.com/office/officeart/2016/7/layout/BasicLinearProcessNumbered"/>
    <dgm:cxn modelId="{1944BD0B-3689-4E12-91AB-4245938FEE08}" type="presParOf" srcId="{384A6EC1-678B-4D1B-9057-93F0738686D2}" destId="{5CF6E413-6979-48E7-84A5-9B88A17A0736}" srcOrd="0" destOrd="0" presId="urn:microsoft.com/office/officeart/2016/7/layout/BasicLinearProcessNumbered"/>
    <dgm:cxn modelId="{D72F0B42-58D1-4849-81DE-8E4AC8591120}" type="presParOf" srcId="{384A6EC1-678B-4D1B-9057-93F0738686D2}" destId="{48C967B5-6197-4996-B4F8-63D0D19234EF}" srcOrd="1" destOrd="0" presId="urn:microsoft.com/office/officeart/2016/7/layout/BasicLinearProcessNumbered"/>
    <dgm:cxn modelId="{5478B2FB-16B6-4768-92EF-9CAE79F2B3D0}" type="presParOf" srcId="{384A6EC1-678B-4D1B-9057-93F0738686D2}" destId="{E5C38CF9-CE20-4A90-89F7-6EDF65FB5E4F}" srcOrd="2" destOrd="0" presId="urn:microsoft.com/office/officeart/2016/7/layout/BasicLinearProcessNumbered"/>
    <dgm:cxn modelId="{54BE253B-6209-4D3D-AB97-11BC0D61024E}" type="presParOf" srcId="{384A6EC1-678B-4D1B-9057-93F0738686D2}" destId="{5DD375D0-73D9-4254-9E30-A31FCAFB3B6D}" srcOrd="3" destOrd="0" presId="urn:microsoft.com/office/officeart/2016/7/layout/BasicLinear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A7ABCA8-E6F7-4D0A-8434-21BE53496633}" type="doc">
      <dgm:prSet loTypeId="urn:microsoft.com/office/officeart/2005/8/layout/vList5" loCatId="list" qsTypeId="urn:microsoft.com/office/officeart/2005/8/quickstyle/simple4" qsCatId="simple" csTypeId="urn:microsoft.com/office/officeart/2005/8/colors/accent2_2" csCatId="accent2" phldr="1"/>
      <dgm:spPr/>
      <dgm:t>
        <a:bodyPr/>
        <a:lstStyle/>
        <a:p>
          <a:endParaRPr lang="en-US"/>
        </a:p>
      </dgm:t>
    </dgm:pt>
    <dgm:pt modelId="{A8011D71-5A87-43B3-BE20-B38062CAD274}">
      <dgm:prSet/>
      <dgm:spPr/>
      <dgm:t>
        <a:bodyPr/>
        <a:lstStyle/>
        <a:p>
          <a:r>
            <a:rPr lang="en-US" b="1" i="1"/>
            <a:t> ICE Car Stops With an Administrative Warrant:</a:t>
          </a:r>
          <a:endParaRPr lang="en-US"/>
        </a:p>
      </dgm:t>
    </dgm:pt>
    <dgm:pt modelId="{168843C3-1771-4007-B29B-21967007AD29}" type="parTrans" cxnId="{7A574C12-97C6-4205-AC56-549B342C27B1}">
      <dgm:prSet/>
      <dgm:spPr/>
      <dgm:t>
        <a:bodyPr/>
        <a:lstStyle/>
        <a:p>
          <a:endParaRPr lang="en-US"/>
        </a:p>
      </dgm:t>
    </dgm:pt>
    <dgm:pt modelId="{64EE26E1-5291-4644-A85F-2ECAF381CDD7}" type="sibTrans" cxnId="{7A574C12-97C6-4205-AC56-549B342C27B1}">
      <dgm:prSet/>
      <dgm:spPr/>
      <dgm:t>
        <a:bodyPr/>
        <a:lstStyle/>
        <a:p>
          <a:endParaRPr lang="en-US"/>
        </a:p>
      </dgm:t>
    </dgm:pt>
    <dgm:pt modelId="{5FA23EE4-8077-4835-A40F-D6AB06C1577F}">
      <dgm:prSet/>
      <dgm:spPr/>
      <dgm:t>
        <a:bodyPr/>
        <a:lstStyle/>
        <a:p>
          <a:endParaRPr lang="en-US"/>
        </a:p>
      </dgm:t>
    </dgm:pt>
    <dgm:pt modelId="{35C0F12A-3DB3-467E-B6C1-DE47FCA42386}" type="parTrans" cxnId="{58C06F7C-305B-4E15-9001-F1D7D8E2CAA6}">
      <dgm:prSet/>
      <dgm:spPr/>
      <dgm:t>
        <a:bodyPr/>
        <a:lstStyle/>
        <a:p>
          <a:endParaRPr lang="en-US"/>
        </a:p>
      </dgm:t>
    </dgm:pt>
    <dgm:pt modelId="{68144EA8-0E93-4DFE-824D-E854F695EB65}" type="sibTrans" cxnId="{58C06F7C-305B-4E15-9001-F1D7D8E2CAA6}">
      <dgm:prSet/>
      <dgm:spPr/>
      <dgm:t>
        <a:bodyPr/>
        <a:lstStyle/>
        <a:p>
          <a:endParaRPr lang="en-US"/>
        </a:p>
      </dgm:t>
    </dgm:pt>
    <dgm:pt modelId="{E73C2CFC-7AAC-4424-B303-E25AC5314DFC}">
      <dgm:prSet/>
      <dgm:spPr/>
      <dgm:t>
        <a:bodyPr/>
        <a:lstStyle/>
        <a:p>
          <a:r>
            <a:rPr lang="en-US" b="1" i="1"/>
            <a:t> ICE Arrests With an Administrative Warrant (NOT IN A HOME):</a:t>
          </a:r>
          <a:endParaRPr lang="en-US"/>
        </a:p>
      </dgm:t>
    </dgm:pt>
    <dgm:pt modelId="{E7726B38-E9C2-4748-B4E0-BE48F731A475}" type="parTrans" cxnId="{77C465E5-FA0D-46FB-8C1F-08931789DD89}">
      <dgm:prSet/>
      <dgm:spPr/>
      <dgm:t>
        <a:bodyPr/>
        <a:lstStyle/>
        <a:p>
          <a:endParaRPr lang="en-US"/>
        </a:p>
      </dgm:t>
    </dgm:pt>
    <dgm:pt modelId="{ECC48AA0-9D03-4941-8ACF-B7E12D9BA1CB}" type="sibTrans" cxnId="{77C465E5-FA0D-46FB-8C1F-08931789DD89}">
      <dgm:prSet/>
      <dgm:spPr/>
      <dgm:t>
        <a:bodyPr/>
        <a:lstStyle/>
        <a:p>
          <a:endParaRPr lang="en-US"/>
        </a:p>
      </dgm:t>
    </dgm:pt>
    <dgm:pt modelId="{31395548-0A49-4308-9B2F-2D6C9721FAAF}">
      <dgm:prSet/>
      <dgm:spPr/>
      <dgm:t>
        <a:bodyPr/>
        <a:lstStyle/>
        <a:p>
          <a:r>
            <a:rPr lang="en-US"/>
            <a:t>ICE must have probable cause to believe the person is here in violation of the laws of the United States.</a:t>
          </a:r>
        </a:p>
      </dgm:t>
    </dgm:pt>
    <dgm:pt modelId="{A258C120-9631-4C48-BBCE-6569E9FAEB20}" type="parTrans" cxnId="{85164467-897C-4B0C-883C-65A477690508}">
      <dgm:prSet/>
      <dgm:spPr/>
      <dgm:t>
        <a:bodyPr/>
        <a:lstStyle/>
        <a:p>
          <a:endParaRPr lang="en-US"/>
        </a:p>
      </dgm:t>
    </dgm:pt>
    <dgm:pt modelId="{9F08B285-867A-4023-851E-79F6FF0B7056}" type="sibTrans" cxnId="{85164467-897C-4B0C-883C-65A477690508}">
      <dgm:prSet/>
      <dgm:spPr/>
      <dgm:t>
        <a:bodyPr/>
        <a:lstStyle/>
        <a:p>
          <a:endParaRPr lang="en-US"/>
        </a:p>
      </dgm:t>
    </dgm:pt>
    <dgm:pt modelId="{270453D7-C2D5-44F3-8D10-265F9E73C159}">
      <dgm:prSet/>
      <dgm:spPr/>
      <dgm:t>
        <a:bodyPr/>
        <a:lstStyle/>
        <a:p>
          <a:r>
            <a:rPr lang="en-US"/>
            <a:t>ICE officers are only required to have “reasonable suspicion” of an immigration violation to initiate a car stop</a:t>
          </a:r>
        </a:p>
      </dgm:t>
    </dgm:pt>
    <dgm:pt modelId="{F0BB1418-6504-462C-AC5B-7DC0E6B4EE08}" type="parTrans" cxnId="{3F415B4B-AE1E-4158-983B-0CA00E39757B}">
      <dgm:prSet/>
      <dgm:spPr/>
      <dgm:t>
        <a:bodyPr/>
        <a:lstStyle/>
        <a:p>
          <a:endParaRPr lang="en-US"/>
        </a:p>
      </dgm:t>
    </dgm:pt>
    <dgm:pt modelId="{2D44EB91-D916-4ECB-85EB-B14BF6561B70}" type="sibTrans" cxnId="{3F415B4B-AE1E-4158-983B-0CA00E39757B}">
      <dgm:prSet/>
      <dgm:spPr/>
      <dgm:t>
        <a:bodyPr/>
        <a:lstStyle/>
        <a:p>
          <a:endParaRPr lang="en-US"/>
        </a:p>
      </dgm:t>
    </dgm:pt>
    <dgm:pt modelId="{C9D6B664-7A85-418A-A23E-A10E315C5659}" type="pres">
      <dgm:prSet presAssocID="{2A7ABCA8-E6F7-4D0A-8434-21BE53496633}" presName="Name0" presStyleCnt="0">
        <dgm:presLayoutVars>
          <dgm:dir/>
          <dgm:animLvl val="lvl"/>
          <dgm:resizeHandles val="exact"/>
        </dgm:presLayoutVars>
      </dgm:prSet>
      <dgm:spPr/>
    </dgm:pt>
    <dgm:pt modelId="{65AF681D-C5C5-482B-BDF4-F26CD7B88C97}" type="pres">
      <dgm:prSet presAssocID="{A8011D71-5A87-43B3-BE20-B38062CAD274}" presName="linNode" presStyleCnt="0"/>
      <dgm:spPr/>
    </dgm:pt>
    <dgm:pt modelId="{1959E763-8DA2-459D-8B27-2D3736D82749}" type="pres">
      <dgm:prSet presAssocID="{A8011D71-5A87-43B3-BE20-B38062CAD274}" presName="parentText" presStyleLbl="node1" presStyleIdx="0" presStyleCnt="2">
        <dgm:presLayoutVars>
          <dgm:chMax val="1"/>
          <dgm:bulletEnabled val="1"/>
        </dgm:presLayoutVars>
      </dgm:prSet>
      <dgm:spPr/>
    </dgm:pt>
    <dgm:pt modelId="{F4151660-FA35-421D-A646-F5E12EF66E81}" type="pres">
      <dgm:prSet presAssocID="{A8011D71-5A87-43B3-BE20-B38062CAD274}" presName="descendantText" presStyleLbl="alignAccFollowNode1" presStyleIdx="0" presStyleCnt="2">
        <dgm:presLayoutVars>
          <dgm:bulletEnabled val="1"/>
        </dgm:presLayoutVars>
      </dgm:prSet>
      <dgm:spPr/>
    </dgm:pt>
    <dgm:pt modelId="{F2C3F2C3-BA9A-4E49-94E6-83C676DF310A}" type="pres">
      <dgm:prSet presAssocID="{64EE26E1-5291-4644-A85F-2ECAF381CDD7}" presName="sp" presStyleCnt="0"/>
      <dgm:spPr/>
    </dgm:pt>
    <dgm:pt modelId="{3F369A62-8336-4E8E-8319-98C3F1C3F402}" type="pres">
      <dgm:prSet presAssocID="{E73C2CFC-7AAC-4424-B303-E25AC5314DFC}" presName="linNode" presStyleCnt="0"/>
      <dgm:spPr/>
    </dgm:pt>
    <dgm:pt modelId="{3C3D3763-DABC-41CC-9B14-DF22BD4045C9}" type="pres">
      <dgm:prSet presAssocID="{E73C2CFC-7AAC-4424-B303-E25AC5314DFC}" presName="parentText" presStyleLbl="node1" presStyleIdx="1" presStyleCnt="2">
        <dgm:presLayoutVars>
          <dgm:chMax val="1"/>
          <dgm:bulletEnabled val="1"/>
        </dgm:presLayoutVars>
      </dgm:prSet>
      <dgm:spPr/>
    </dgm:pt>
    <dgm:pt modelId="{BC8A26E7-6FF6-4D55-8189-A6321B726235}" type="pres">
      <dgm:prSet presAssocID="{E73C2CFC-7AAC-4424-B303-E25AC5314DFC}" presName="descendantText" presStyleLbl="alignAccFollowNode1" presStyleIdx="1" presStyleCnt="2">
        <dgm:presLayoutVars>
          <dgm:bulletEnabled val="1"/>
        </dgm:presLayoutVars>
      </dgm:prSet>
      <dgm:spPr/>
    </dgm:pt>
  </dgm:ptLst>
  <dgm:cxnLst>
    <dgm:cxn modelId="{7A574C12-97C6-4205-AC56-549B342C27B1}" srcId="{2A7ABCA8-E6F7-4D0A-8434-21BE53496633}" destId="{A8011D71-5A87-43B3-BE20-B38062CAD274}" srcOrd="0" destOrd="0" parTransId="{168843C3-1771-4007-B29B-21967007AD29}" sibTransId="{64EE26E1-5291-4644-A85F-2ECAF381CDD7}"/>
    <dgm:cxn modelId="{BA0BE243-64E4-4E35-B59A-81F14F651F0E}" type="presOf" srcId="{2A7ABCA8-E6F7-4D0A-8434-21BE53496633}" destId="{C9D6B664-7A85-418A-A23E-A10E315C5659}" srcOrd="0" destOrd="0" presId="urn:microsoft.com/office/officeart/2005/8/layout/vList5"/>
    <dgm:cxn modelId="{31D55E66-5596-4818-9E45-B9A6B52A3966}" type="presOf" srcId="{E73C2CFC-7AAC-4424-B303-E25AC5314DFC}" destId="{3C3D3763-DABC-41CC-9B14-DF22BD4045C9}" srcOrd="0" destOrd="0" presId="urn:microsoft.com/office/officeart/2005/8/layout/vList5"/>
    <dgm:cxn modelId="{85164467-897C-4B0C-883C-65A477690508}" srcId="{E73C2CFC-7AAC-4424-B303-E25AC5314DFC}" destId="{31395548-0A49-4308-9B2F-2D6C9721FAAF}" srcOrd="0" destOrd="0" parTransId="{A258C120-9631-4C48-BBCE-6569E9FAEB20}" sibTransId="{9F08B285-867A-4023-851E-79F6FF0B7056}"/>
    <dgm:cxn modelId="{3F415B4B-AE1E-4158-983B-0CA00E39757B}" srcId="{A8011D71-5A87-43B3-BE20-B38062CAD274}" destId="{270453D7-C2D5-44F3-8D10-265F9E73C159}" srcOrd="1" destOrd="0" parTransId="{F0BB1418-6504-462C-AC5B-7DC0E6B4EE08}" sibTransId="{2D44EB91-D916-4ECB-85EB-B14BF6561B70}"/>
    <dgm:cxn modelId="{58C06F7C-305B-4E15-9001-F1D7D8E2CAA6}" srcId="{A8011D71-5A87-43B3-BE20-B38062CAD274}" destId="{5FA23EE4-8077-4835-A40F-D6AB06C1577F}" srcOrd="0" destOrd="0" parTransId="{35C0F12A-3DB3-467E-B6C1-DE47FCA42386}" sibTransId="{68144EA8-0E93-4DFE-824D-E854F695EB65}"/>
    <dgm:cxn modelId="{31894B90-7AA7-42A3-B7BE-2FC30CEC01D3}" type="presOf" srcId="{270453D7-C2D5-44F3-8D10-265F9E73C159}" destId="{F4151660-FA35-421D-A646-F5E12EF66E81}" srcOrd="0" destOrd="1" presId="urn:microsoft.com/office/officeart/2005/8/layout/vList5"/>
    <dgm:cxn modelId="{9BA4AEA1-4342-4B05-BF7D-6A765DDDD13D}" type="presOf" srcId="{A8011D71-5A87-43B3-BE20-B38062CAD274}" destId="{1959E763-8DA2-459D-8B27-2D3736D82749}" srcOrd="0" destOrd="0" presId="urn:microsoft.com/office/officeart/2005/8/layout/vList5"/>
    <dgm:cxn modelId="{B82531C4-AA95-466F-B826-1CC4E6DB335E}" type="presOf" srcId="{31395548-0A49-4308-9B2F-2D6C9721FAAF}" destId="{BC8A26E7-6FF6-4D55-8189-A6321B726235}" srcOrd="0" destOrd="0" presId="urn:microsoft.com/office/officeart/2005/8/layout/vList5"/>
    <dgm:cxn modelId="{77C465E5-FA0D-46FB-8C1F-08931789DD89}" srcId="{2A7ABCA8-E6F7-4D0A-8434-21BE53496633}" destId="{E73C2CFC-7AAC-4424-B303-E25AC5314DFC}" srcOrd="1" destOrd="0" parTransId="{E7726B38-E9C2-4748-B4E0-BE48F731A475}" sibTransId="{ECC48AA0-9D03-4941-8ACF-B7E12D9BA1CB}"/>
    <dgm:cxn modelId="{E89B04F5-C975-4AED-9A19-EC301D9469A8}" type="presOf" srcId="{5FA23EE4-8077-4835-A40F-D6AB06C1577F}" destId="{F4151660-FA35-421D-A646-F5E12EF66E81}" srcOrd="0" destOrd="0" presId="urn:microsoft.com/office/officeart/2005/8/layout/vList5"/>
    <dgm:cxn modelId="{8C03DE42-3B6F-4985-AD9F-B2B5DA1C58DB}" type="presParOf" srcId="{C9D6B664-7A85-418A-A23E-A10E315C5659}" destId="{65AF681D-C5C5-482B-BDF4-F26CD7B88C97}" srcOrd="0" destOrd="0" presId="urn:microsoft.com/office/officeart/2005/8/layout/vList5"/>
    <dgm:cxn modelId="{85E5E9EF-5FB5-4DB6-8030-5ADEED6C2460}" type="presParOf" srcId="{65AF681D-C5C5-482B-BDF4-F26CD7B88C97}" destId="{1959E763-8DA2-459D-8B27-2D3736D82749}" srcOrd="0" destOrd="0" presId="urn:microsoft.com/office/officeart/2005/8/layout/vList5"/>
    <dgm:cxn modelId="{599CBACE-AEF9-4D15-8254-01F29FA20B4A}" type="presParOf" srcId="{65AF681D-C5C5-482B-BDF4-F26CD7B88C97}" destId="{F4151660-FA35-421D-A646-F5E12EF66E81}" srcOrd="1" destOrd="0" presId="urn:microsoft.com/office/officeart/2005/8/layout/vList5"/>
    <dgm:cxn modelId="{C6764C5D-9A4F-42D5-B1CD-F33A8DFB9D96}" type="presParOf" srcId="{C9D6B664-7A85-418A-A23E-A10E315C5659}" destId="{F2C3F2C3-BA9A-4E49-94E6-83C676DF310A}" srcOrd="1" destOrd="0" presId="urn:microsoft.com/office/officeart/2005/8/layout/vList5"/>
    <dgm:cxn modelId="{7D180994-41F8-42A3-A7F0-C3CA88D0BE1B}" type="presParOf" srcId="{C9D6B664-7A85-418A-A23E-A10E315C5659}" destId="{3F369A62-8336-4E8E-8319-98C3F1C3F402}" srcOrd="2" destOrd="0" presId="urn:microsoft.com/office/officeart/2005/8/layout/vList5"/>
    <dgm:cxn modelId="{B6A14BC9-3290-4AA1-8280-D062A6E93774}" type="presParOf" srcId="{3F369A62-8336-4E8E-8319-98C3F1C3F402}" destId="{3C3D3763-DABC-41CC-9B14-DF22BD4045C9}" srcOrd="0" destOrd="0" presId="urn:microsoft.com/office/officeart/2005/8/layout/vList5"/>
    <dgm:cxn modelId="{8BD366DA-B68F-4594-9A6B-E72B870691BA}" type="presParOf" srcId="{3F369A62-8336-4E8E-8319-98C3F1C3F402}" destId="{BC8A26E7-6FF6-4D55-8189-A6321B72623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47BA798-77E6-4222-BCAC-5FFCC1BEC606}" type="doc">
      <dgm:prSet loTypeId="urn:microsoft.com/office/officeart/2005/8/layout/list1" loCatId="list" qsTypeId="urn:microsoft.com/office/officeart/2005/8/quickstyle/simple4" qsCatId="simple" csTypeId="urn:microsoft.com/office/officeart/2005/8/colors/accent1_2" csCatId="accent1" phldr="1"/>
      <dgm:spPr/>
      <dgm:t>
        <a:bodyPr/>
        <a:lstStyle/>
        <a:p>
          <a:endParaRPr lang="en-US"/>
        </a:p>
      </dgm:t>
    </dgm:pt>
    <dgm:pt modelId="{8D64F565-3F73-413C-9EC9-C580FAF97989}">
      <dgm:prSet/>
      <dgm:spPr/>
      <dgm:t>
        <a:bodyPr/>
        <a:lstStyle/>
        <a:p>
          <a:r>
            <a:rPr lang="en-US" b="1" i="1"/>
            <a:t>NOTE:  ICE sometimes has a warrant, even if they will not show it to a bystander. </a:t>
          </a:r>
        </a:p>
      </dgm:t>
    </dgm:pt>
    <dgm:pt modelId="{FA1200C5-5AC4-429F-B4F5-FE9CBC5ABA91}" type="parTrans" cxnId="{D8A40CD3-A95E-4554-977A-2FE9CA15577F}">
      <dgm:prSet/>
      <dgm:spPr/>
      <dgm:t>
        <a:bodyPr/>
        <a:lstStyle/>
        <a:p>
          <a:endParaRPr lang="en-US"/>
        </a:p>
      </dgm:t>
    </dgm:pt>
    <dgm:pt modelId="{8B8B1FC5-6A14-4A27-94B1-C37CD52AE1AB}" type="sibTrans" cxnId="{D8A40CD3-A95E-4554-977A-2FE9CA15577F}">
      <dgm:prSet/>
      <dgm:spPr/>
      <dgm:t>
        <a:bodyPr/>
        <a:lstStyle/>
        <a:p>
          <a:endParaRPr lang="en-US"/>
        </a:p>
      </dgm:t>
    </dgm:pt>
    <dgm:pt modelId="{A425DF3C-0D38-4136-99EC-171BEAADE9A5}">
      <dgm:prSet/>
      <dgm:spPr/>
      <dgm:t>
        <a:bodyPr/>
        <a:lstStyle/>
        <a:p>
          <a:r>
            <a:rPr lang="en-US" b="1" i="1" baseline="0"/>
            <a:t>The Right to Arrest Without a Warrant </a:t>
          </a:r>
          <a:r>
            <a:rPr lang="en-US" b="1" i="0" baseline="0"/>
            <a:t>(NOT IN A HOME):</a:t>
          </a:r>
          <a:endParaRPr lang="en-US"/>
        </a:p>
      </dgm:t>
    </dgm:pt>
    <dgm:pt modelId="{ED1565BE-C220-4FC4-9C7D-0F7DBDD83085}" type="parTrans" cxnId="{28A4FE93-896B-4342-8358-BF266B994ED0}">
      <dgm:prSet/>
      <dgm:spPr/>
      <dgm:t>
        <a:bodyPr/>
        <a:lstStyle/>
        <a:p>
          <a:endParaRPr lang="en-US"/>
        </a:p>
      </dgm:t>
    </dgm:pt>
    <dgm:pt modelId="{6962C5EA-A934-4547-A2D7-5BF76E85E78E}" type="sibTrans" cxnId="{28A4FE93-896B-4342-8358-BF266B994ED0}">
      <dgm:prSet/>
      <dgm:spPr/>
      <dgm:t>
        <a:bodyPr/>
        <a:lstStyle/>
        <a:p>
          <a:endParaRPr lang="en-US"/>
        </a:p>
      </dgm:t>
    </dgm:pt>
    <dgm:pt modelId="{C6E2F3E6-9D44-44ED-857B-B5281CAA896C}">
      <dgm:prSet/>
      <dgm:spPr/>
      <dgm:t>
        <a:bodyPr/>
        <a:lstStyle/>
        <a:p>
          <a:r>
            <a:rPr lang="en-US"/>
            <a:t>To arrest a person on the streets or in a car, without a warrant, ICE must have “reason to believe” the individual is</a:t>
          </a:r>
        </a:p>
      </dgm:t>
    </dgm:pt>
    <dgm:pt modelId="{91E9A49F-D413-4A65-B459-CFF398A80A58}" type="parTrans" cxnId="{70CD5D49-A515-4804-92EA-F738254B0AF6}">
      <dgm:prSet/>
      <dgm:spPr/>
      <dgm:t>
        <a:bodyPr/>
        <a:lstStyle/>
        <a:p>
          <a:endParaRPr lang="en-US"/>
        </a:p>
      </dgm:t>
    </dgm:pt>
    <dgm:pt modelId="{130EE24A-2399-4F02-9155-00097846948F}" type="sibTrans" cxnId="{70CD5D49-A515-4804-92EA-F738254B0AF6}">
      <dgm:prSet/>
      <dgm:spPr/>
      <dgm:t>
        <a:bodyPr/>
        <a:lstStyle/>
        <a:p>
          <a:endParaRPr lang="en-US"/>
        </a:p>
      </dgm:t>
    </dgm:pt>
    <dgm:pt modelId="{09AAB620-F759-44D5-908A-996B8D123FAD}">
      <dgm:prSet/>
      <dgm:spPr/>
      <dgm:t>
        <a:bodyPr/>
        <a:lstStyle/>
        <a:p>
          <a:r>
            <a:rPr lang="en-US"/>
            <a:t>(i) in the US in violation of immigration laws and</a:t>
          </a:r>
        </a:p>
      </dgm:t>
    </dgm:pt>
    <dgm:pt modelId="{456E30ED-B4FC-406E-A8D3-3A3746680B1F}" type="parTrans" cxnId="{9E58A825-83B4-4A06-A5F2-DC9AF7C35168}">
      <dgm:prSet/>
      <dgm:spPr/>
      <dgm:t>
        <a:bodyPr/>
        <a:lstStyle/>
        <a:p>
          <a:endParaRPr lang="en-US"/>
        </a:p>
      </dgm:t>
    </dgm:pt>
    <dgm:pt modelId="{7EDB9C22-0AD3-4B47-A5FC-913F5C77B616}" type="sibTrans" cxnId="{9E58A825-83B4-4A06-A5F2-DC9AF7C35168}">
      <dgm:prSet/>
      <dgm:spPr/>
      <dgm:t>
        <a:bodyPr/>
        <a:lstStyle/>
        <a:p>
          <a:endParaRPr lang="en-US"/>
        </a:p>
      </dgm:t>
    </dgm:pt>
    <dgm:pt modelId="{9408CA44-BC5D-4078-9272-70E5E0CD29FD}">
      <dgm:prSet/>
      <dgm:spPr/>
      <dgm:t>
        <a:bodyPr/>
        <a:lstStyle/>
        <a:p>
          <a:r>
            <a:rPr lang="en-US"/>
            <a:t>(ii)  “likely to escape before an arrest warrant can be obtained.” </a:t>
          </a:r>
        </a:p>
      </dgm:t>
    </dgm:pt>
    <dgm:pt modelId="{74FDB710-2757-4732-A3CC-C0F3F9865610}" type="parTrans" cxnId="{8A316709-F134-487E-AAC3-D9AF9ACF8F45}">
      <dgm:prSet/>
      <dgm:spPr/>
      <dgm:t>
        <a:bodyPr/>
        <a:lstStyle/>
        <a:p>
          <a:endParaRPr lang="en-US"/>
        </a:p>
      </dgm:t>
    </dgm:pt>
    <dgm:pt modelId="{F27A896F-F9E6-4944-8BAE-5B5C271C2235}" type="sibTrans" cxnId="{8A316709-F134-487E-AAC3-D9AF9ACF8F45}">
      <dgm:prSet/>
      <dgm:spPr/>
      <dgm:t>
        <a:bodyPr/>
        <a:lstStyle/>
        <a:p>
          <a:endParaRPr lang="en-US"/>
        </a:p>
      </dgm:t>
    </dgm:pt>
    <dgm:pt modelId="{DB1A6D21-3060-436A-AB74-558F980015B4}" type="pres">
      <dgm:prSet presAssocID="{C47BA798-77E6-4222-BCAC-5FFCC1BEC606}" presName="linear" presStyleCnt="0">
        <dgm:presLayoutVars>
          <dgm:dir/>
          <dgm:animLvl val="lvl"/>
          <dgm:resizeHandles val="exact"/>
        </dgm:presLayoutVars>
      </dgm:prSet>
      <dgm:spPr/>
    </dgm:pt>
    <dgm:pt modelId="{99058095-234E-4322-B4E5-8A728BA82576}" type="pres">
      <dgm:prSet presAssocID="{8D64F565-3F73-413C-9EC9-C580FAF97989}" presName="parentLin" presStyleCnt="0"/>
      <dgm:spPr/>
    </dgm:pt>
    <dgm:pt modelId="{F423284A-1D64-4562-9704-F950B91293CD}" type="pres">
      <dgm:prSet presAssocID="{8D64F565-3F73-413C-9EC9-C580FAF97989}" presName="parentLeftMargin" presStyleLbl="node1" presStyleIdx="0" presStyleCnt="1"/>
      <dgm:spPr/>
    </dgm:pt>
    <dgm:pt modelId="{40888495-D336-4BC4-9AD8-43A0919FB6E2}" type="pres">
      <dgm:prSet presAssocID="{8D64F565-3F73-413C-9EC9-C580FAF97989}" presName="parentText" presStyleLbl="node1" presStyleIdx="0" presStyleCnt="1" custScaleX="142857">
        <dgm:presLayoutVars>
          <dgm:chMax val="0"/>
          <dgm:bulletEnabled val="1"/>
        </dgm:presLayoutVars>
      </dgm:prSet>
      <dgm:spPr/>
    </dgm:pt>
    <dgm:pt modelId="{D229A8D2-BFBE-4707-9CD4-45931A2F80EC}" type="pres">
      <dgm:prSet presAssocID="{8D64F565-3F73-413C-9EC9-C580FAF97989}" presName="negativeSpace" presStyleCnt="0"/>
      <dgm:spPr/>
    </dgm:pt>
    <dgm:pt modelId="{8637C6D2-8105-4EC4-AFB0-81E18373F61E}" type="pres">
      <dgm:prSet presAssocID="{8D64F565-3F73-413C-9EC9-C580FAF97989}" presName="childText" presStyleLbl="conFgAcc1" presStyleIdx="0" presStyleCnt="1">
        <dgm:presLayoutVars>
          <dgm:bulletEnabled val="1"/>
        </dgm:presLayoutVars>
      </dgm:prSet>
      <dgm:spPr/>
    </dgm:pt>
  </dgm:ptLst>
  <dgm:cxnLst>
    <dgm:cxn modelId="{8A316709-F134-487E-AAC3-D9AF9ACF8F45}" srcId="{C6E2F3E6-9D44-44ED-857B-B5281CAA896C}" destId="{9408CA44-BC5D-4078-9272-70E5E0CD29FD}" srcOrd="1" destOrd="0" parTransId="{74FDB710-2757-4732-A3CC-C0F3F9865610}" sibTransId="{F27A896F-F9E6-4944-8BAE-5B5C271C2235}"/>
    <dgm:cxn modelId="{E5547A1D-0439-49FF-A901-68CF86CE0596}" type="presOf" srcId="{C6E2F3E6-9D44-44ED-857B-B5281CAA896C}" destId="{8637C6D2-8105-4EC4-AFB0-81E18373F61E}" srcOrd="0" destOrd="1" presId="urn:microsoft.com/office/officeart/2005/8/layout/list1"/>
    <dgm:cxn modelId="{8384FD1F-C6EA-4D67-891B-E93BC143C0B0}" type="presOf" srcId="{9408CA44-BC5D-4078-9272-70E5E0CD29FD}" destId="{8637C6D2-8105-4EC4-AFB0-81E18373F61E}" srcOrd="0" destOrd="3" presId="urn:microsoft.com/office/officeart/2005/8/layout/list1"/>
    <dgm:cxn modelId="{9E58A825-83B4-4A06-A5F2-DC9AF7C35168}" srcId="{C6E2F3E6-9D44-44ED-857B-B5281CAA896C}" destId="{09AAB620-F759-44D5-908A-996B8D123FAD}" srcOrd="0" destOrd="0" parTransId="{456E30ED-B4FC-406E-A8D3-3A3746680B1F}" sibTransId="{7EDB9C22-0AD3-4B47-A5FC-913F5C77B616}"/>
    <dgm:cxn modelId="{55665D26-B551-4A55-AFA4-E0BF4B38B618}" type="presOf" srcId="{09AAB620-F759-44D5-908A-996B8D123FAD}" destId="{8637C6D2-8105-4EC4-AFB0-81E18373F61E}" srcOrd="0" destOrd="2" presId="urn:microsoft.com/office/officeart/2005/8/layout/list1"/>
    <dgm:cxn modelId="{70CD5D49-A515-4804-92EA-F738254B0AF6}" srcId="{A425DF3C-0D38-4136-99EC-171BEAADE9A5}" destId="{C6E2F3E6-9D44-44ED-857B-B5281CAA896C}" srcOrd="0" destOrd="0" parTransId="{91E9A49F-D413-4A65-B459-CFF398A80A58}" sibTransId="{130EE24A-2399-4F02-9155-00097846948F}"/>
    <dgm:cxn modelId="{94227C71-12ED-41CD-8FA5-447DD6BCEED3}" type="presOf" srcId="{8D64F565-3F73-413C-9EC9-C580FAF97989}" destId="{F423284A-1D64-4562-9704-F950B91293CD}" srcOrd="0" destOrd="0" presId="urn:microsoft.com/office/officeart/2005/8/layout/list1"/>
    <dgm:cxn modelId="{DC0B667B-3A88-47F3-9130-5DAC13D895DD}" type="presOf" srcId="{C47BA798-77E6-4222-BCAC-5FFCC1BEC606}" destId="{DB1A6D21-3060-436A-AB74-558F980015B4}" srcOrd="0" destOrd="0" presId="urn:microsoft.com/office/officeart/2005/8/layout/list1"/>
    <dgm:cxn modelId="{F64EDF80-B5A0-4CF3-975C-76A99298707B}" type="presOf" srcId="{A425DF3C-0D38-4136-99EC-171BEAADE9A5}" destId="{8637C6D2-8105-4EC4-AFB0-81E18373F61E}" srcOrd="0" destOrd="0" presId="urn:microsoft.com/office/officeart/2005/8/layout/list1"/>
    <dgm:cxn modelId="{28A4FE93-896B-4342-8358-BF266B994ED0}" srcId="{8D64F565-3F73-413C-9EC9-C580FAF97989}" destId="{A425DF3C-0D38-4136-99EC-171BEAADE9A5}" srcOrd="0" destOrd="0" parTransId="{ED1565BE-C220-4FC4-9C7D-0F7DBDD83085}" sibTransId="{6962C5EA-A934-4547-A2D7-5BF76E85E78E}"/>
    <dgm:cxn modelId="{D8A40CD3-A95E-4554-977A-2FE9CA15577F}" srcId="{C47BA798-77E6-4222-BCAC-5FFCC1BEC606}" destId="{8D64F565-3F73-413C-9EC9-C580FAF97989}" srcOrd="0" destOrd="0" parTransId="{FA1200C5-5AC4-429F-B4F5-FE9CBC5ABA91}" sibTransId="{8B8B1FC5-6A14-4A27-94B1-C37CD52AE1AB}"/>
    <dgm:cxn modelId="{18B7C9DF-C275-4685-A540-D6C5C1979CC4}" type="presOf" srcId="{8D64F565-3F73-413C-9EC9-C580FAF97989}" destId="{40888495-D336-4BC4-9AD8-43A0919FB6E2}" srcOrd="1" destOrd="0" presId="urn:microsoft.com/office/officeart/2005/8/layout/list1"/>
    <dgm:cxn modelId="{ABA7F245-E186-4654-8358-C8BD80D83CA1}" type="presParOf" srcId="{DB1A6D21-3060-436A-AB74-558F980015B4}" destId="{99058095-234E-4322-B4E5-8A728BA82576}" srcOrd="0" destOrd="0" presId="urn:microsoft.com/office/officeart/2005/8/layout/list1"/>
    <dgm:cxn modelId="{D6085A20-B18B-497D-95CF-01F75F5F8E89}" type="presParOf" srcId="{99058095-234E-4322-B4E5-8A728BA82576}" destId="{F423284A-1D64-4562-9704-F950B91293CD}" srcOrd="0" destOrd="0" presId="urn:microsoft.com/office/officeart/2005/8/layout/list1"/>
    <dgm:cxn modelId="{D72FC16B-2009-4F34-B61A-9A6AFB50880A}" type="presParOf" srcId="{99058095-234E-4322-B4E5-8A728BA82576}" destId="{40888495-D336-4BC4-9AD8-43A0919FB6E2}" srcOrd="1" destOrd="0" presId="urn:microsoft.com/office/officeart/2005/8/layout/list1"/>
    <dgm:cxn modelId="{720AA84B-9BDA-44CC-A5C5-1A9C3E32415E}" type="presParOf" srcId="{DB1A6D21-3060-436A-AB74-558F980015B4}" destId="{D229A8D2-BFBE-4707-9CD4-45931A2F80EC}" srcOrd="1" destOrd="0" presId="urn:microsoft.com/office/officeart/2005/8/layout/list1"/>
    <dgm:cxn modelId="{4DC4767E-1F04-433F-80F6-05687CBB0505}" type="presParOf" srcId="{DB1A6D21-3060-436A-AB74-558F980015B4}" destId="{8637C6D2-8105-4EC4-AFB0-81E18373F61E}"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D96BCC1-756F-49D7-BC39-7B8BB4CFE143}" type="doc">
      <dgm:prSet loTypeId="urn:microsoft.com/office/officeart/2005/8/layout/vList2" loCatId="list" qsTypeId="urn:microsoft.com/office/officeart/2005/8/quickstyle/simple5" qsCatId="simple" csTypeId="urn:microsoft.com/office/officeart/2005/8/colors/accent3_2" csCatId="accent3" phldr="1"/>
      <dgm:spPr/>
      <dgm:t>
        <a:bodyPr/>
        <a:lstStyle/>
        <a:p>
          <a:endParaRPr lang="en-US"/>
        </a:p>
      </dgm:t>
    </dgm:pt>
    <dgm:pt modelId="{0D105CA7-CB5A-4E0B-A574-95E8C9C673FD}">
      <dgm:prSet/>
      <dgm:spPr/>
      <dgm:t>
        <a:bodyPr/>
        <a:lstStyle/>
        <a:p>
          <a:r>
            <a:rPr lang="en-US"/>
            <a:t>Regulations refer to ICE “serving” the administrative warrant on the immigrant, but do not directly order the service.  8 C.F.R. sec. 236.1(b).  </a:t>
          </a:r>
        </a:p>
      </dgm:t>
    </dgm:pt>
    <dgm:pt modelId="{AFE0FE3D-3828-4025-837C-D0DDA228D9B2}" type="parTrans" cxnId="{3CCC63E8-764D-4D39-B051-A1B76A001BF9}">
      <dgm:prSet/>
      <dgm:spPr/>
      <dgm:t>
        <a:bodyPr/>
        <a:lstStyle/>
        <a:p>
          <a:endParaRPr lang="en-US"/>
        </a:p>
      </dgm:t>
    </dgm:pt>
    <dgm:pt modelId="{7CC3CE92-6A04-47B7-8044-80275E51F378}" type="sibTrans" cxnId="{3CCC63E8-764D-4D39-B051-A1B76A001BF9}">
      <dgm:prSet/>
      <dgm:spPr/>
      <dgm:t>
        <a:bodyPr/>
        <a:lstStyle/>
        <a:p>
          <a:endParaRPr lang="en-US"/>
        </a:p>
      </dgm:t>
    </dgm:pt>
    <dgm:pt modelId="{2FD0D2A7-9433-44EF-ACA2-0E6130BBCE73}">
      <dgm:prSet/>
      <dgm:spPr/>
      <dgm:t>
        <a:bodyPr/>
        <a:lstStyle/>
        <a:p>
          <a:r>
            <a:rPr lang="en-US"/>
            <a:t>Who can issue an administrative warrant?  The list is long, but includes: </a:t>
          </a:r>
        </a:p>
      </dgm:t>
    </dgm:pt>
    <dgm:pt modelId="{D8ECAEE4-42DA-45A8-B526-740EAD235FD4}" type="parTrans" cxnId="{780A3243-071D-4C48-B3FC-E5F17F603463}">
      <dgm:prSet/>
      <dgm:spPr/>
      <dgm:t>
        <a:bodyPr/>
        <a:lstStyle/>
        <a:p>
          <a:endParaRPr lang="en-US"/>
        </a:p>
      </dgm:t>
    </dgm:pt>
    <dgm:pt modelId="{85312B77-E7F4-4A17-9463-63AFDDB31325}" type="sibTrans" cxnId="{780A3243-071D-4C48-B3FC-E5F17F603463}">
      <dgm:prSet/>
      <dgm:spPr/>
      <dgm:t>
        <a:bodyPr/>
        <a:lstStyle/>
        <a:p>
          <a:endParaRPr lang="en-US"/>
        </a:p>
      </dgm:t>
    </dgm:pt>
    <dgm:pt modelId="{FE0EE8E5-4547-4B06-8627-0EF87D7726A9}">
      <dgm:prSet/>
      <dgm:spPr/>
      <dgm:t>
        <a:bodyPr/>
        <a:lstStyle/>
        <a:p>
          <a:r>
            <a:rPr lang="en-US"/>
            <a:t>Supervisory deportation officers;</a:t>
          </a:r>
        </a:p>
      </dgm:t>
    </dgm:pt>
    <dgm:pt modelId="{0E8F6A57-4AE1-47D0-8E23-E248D717051B}" type="parTrans" cxnId="{D47C5F71-6EDC-45BA-BD8C-1587E5E607F5}">
      <dgm:prSet/>
      <dgm:spPr/>
      <dgm:t>
        <a:bodyPr/>
        <a:lstStyle/>
        <a:p>
          <a:endParaRPr lang="en-US"/>
        </a:p>
      </dgm:t>
    </dgm:pt>
    <dgm:pt modelId="{163357FE-5039-4145-A8B9-E18909DAD35B}" type="sibTrans" cxnId="{D47C5F71-6EDC-45BA-BD8C-1587E5E607F5}">
      <dgm:prSet/>
      <dgm:spPr/>
      <dgm:t>
        <a:bodyPr/>
        <a:lstStyle/>
        <a:p>
          <a:endParaRPr lang="en-US"/>
        </a:p>
      </dgm:t>
    </dgm:pt>
    <dgm:pt modelId="{B5E6C241-31C8-4012-8DC3-5FAB77DE82D2}">
      <dgm:prSet/>
      <dgm:spPr/>
      <dgm:t>
        <a:bodyPr/>
        <a:lstStyle/>
        <a:p>
          <a:r>
            <a:rPr lang="en-US"/>
            <a:t>Supervisory detention and deportation officers</a:t>
          </a:r>
        </a:p>
      </dgm:t>
    </dgm:pt>
    <dgm:pt modelId="{E473EB61-0FCF-41AD-BDDE-ED5940CA743A}" type="parTrans" cxnId="{9BE39185-0A08-4339-8980-CD0FDF63CBDA}">
      <dgm:prSet/>
      <dgm:spPr/>
      <dgm:t>
        <a:bodyPr/>
        <a:lstStyle/>
        <a:p>
          <a:endParaRPr lang="en-US"/>
        </a:p>
      </dgm:t>
    </dgm:pt>
    <dgm:pt modelId="{1B5F2C96-0D96-414C-80DF-309FECA9B839}" type="sibTrans" cxnId="{9BE39185-0A08-4339-8980-CD0FDF63CBDA}">
      <dgm:prSet/>
      <dgm:spPr/>
      <dgm:t>
        <a:bodyPr/>
        <a:lstStyle/>
        <a:p>
          <a:endParaRPr lang="en-US"/>
        </a:p>
      </dgm:t>
    </dgm:pt>
    <dgm:pt modelId="{7C22250E-FF61-496B-B0ED-41495733CD7B}">
      <dgm:prSet/>
      <dgm:spPr/>
      <dgm:t>
        <a:bodyPr/>
        <a:lstStyle/>
        <a:p>
          <a:r>
            <a:rPr lang="en-US"/>
            <a:t>Immigration Enforcement Agents; or</a:t>
          </a:r>
        </a:p>
      </dgm:t>
    </dgm:pt>
    <dgm:pt modelId="{F5194C04-941A-4622-81AE-F6453C48D986}" type="parTrans" cxnId="{10AFF948-66DA-45C9-94E7-9968E531164A}">
      <dgm:prSet/>
      <dgm:spPr/>
      <dgm:t>
        <a:bodyPr/>
        <a:lstStyle/>
        <a:p>
          <a:endParaRPr lang="en-US"/>
        </a:p>
      </dgm:t>
    </dgm:pt>
    <dgm:pt modelId="{6AF34D15-C05F-4046-8C69-628DD8B7C5D0}" type="sibTrans" cxnId="{10AFF948-66DA-45C9-94E7-9968E531164A}">
      <dgm:prSet/>
      <dgm:spPr/>
      <dgm:t>
        <a:bodyPr/>
        <a:lstStyle/>
        <a:p>
          <a:endParaRPr lang="en-US"/>
        </a:p>
      </dgm:t>
    </dgm:pt>
    <dgm:pt modelId="{B25F9CB1-0C67-4988-A716-3CE3EEAF6665}">
      <dgm:prSet/>
      <dgm:spPr/>
      <dgm:t>
        <a:bodyPr/>
        <a:lstStyle/>
        <a:p>
          <a:r>
            <a:rPr lang="en-US"/>
            <a:t>Other duly authorized officers or employees of the Department of Homeland Security or the United States who are delegated the authority as provided in 8 CFR 2.1 to issue warrants of arrest, and who have successfully completed any required immigration law enforcement training.</a:t>
          </a:r>
        </a:p>
      </dgm:t>
    </dgm:pt>
    <dgm:pt modelId="{E89FBF2B-2804-4AB8-97E1-A0AFAAD00F24}" type="parTrans" cxnId="{308AAF29-740C-411F-841B-CC00E2347458}">
      <dgm:prSet/>
      <dgm:spPr/>
      <dgm:t>
        <a:bodyPr/>
        <a:lstStyle/>
        <a:p>
          <a:endParaRPr lang="en-US"/>
        </a:p>
      </dgm:t>
    </dgm:pt>
    <dgm:pt modelId="{EA8815AB-81C2-4597-B910-5E539169BDFD}" type="sibTrans" cxnId="{308AAF29-740C-411F-841B-CC00E2347458}">
      <dgm:prSet/>
      <dgm:spPr/>
      <dgm:t>
        <a:bodyPr/>
        <a:lstStyle/>
        <a:p>
          <a:endParaRPr lang="en-US"/>
        </a:p>
      </dgm:t>
    </dgm:pt>
    <dgm:pt modelId="{0EC67F6E-B09F-4D4B-9017-02A36BC59225}" type="pres">
      <dgm:prSet presAssocID="{2D96BCC1-756F-49D7-BC39-7B8BB4CFE143}" presName="linear" presStyleCnt="0">
        <dgm:presLayoutVars>
          <dgm:animLvl val="lvl"/>
          <dgm:resizeHandles val="exact"/>
        </dgm:presLayoutVars>
      </dgm:prSet>
      <dgm:spPr/>
    </dgm:pt>
    <dgm:pt modelId="{D1AEC7C6-8B70-4F06-993C-FAA1E64FB37F}" type="pres">
      <dgm:prSet presAssocID="{0D105CA7-CB5A-4E0B-A574-95E8C9C673FD}" presName="parentText" presStyleLbl="node1" presStyleIdx="0" presStyleCnt="2">
        <dgm:presLayoutVars>
          <dgm:chMax val="0"/>
          <dgm:bulletEnabled val="1"/>
        </dgm:presLayoutVars>
      </dgm:prSet>
      <dgm:spPr/>
    </dgm:pt>
    <dgm:pt modelId="{4F47293F-FBA3-4D2E-81D2-2425115C1471}" type="pres">
      <dgm:prSet presAssocID="{7CC3CE92-6A04-47B7-8044-80275E51F378}" presName="spacer" presStyleCnt="0"/>
      <dgm:spPr/>
    </dgm:pt>
    <dgm:pt modelId="{9CAFD6FC-7818-4BE3-B2ED-1034DC8AC06E}" type="pres">
      <dgm:prSet presAssocID="{2FD0D2A7-9433-44EF-ACA2-0E6130BBCE73}" presName="parentText" presStyleLbl="node1" presStyleIdx="1" presStyleCnt="2">
        <dgm:presLayoutVars>
          <dgm:chMax val="0"/>
          <dgm:bulletEnabled val="1"/>
        </dgm:presLayoutVars>
      </dgm:prSet>
      <dgm:spPr/>
    </dgm:pt>
    <dgm:pt modelId="{E80BC0CE-9B94-4CC5-9A38-2A9436465DA0}" type="pres">
      <dgm:prSet presAssocID="{2FD0D2A7-9433-44EF-ACA2-0E6130BBCE73}" presName="childText" presStyleLbl="revTx" presStyleIdx="0" presStyleCnt="1">
        <dgm:presLayoutVars>
          <dgm:bulletEnabled val="1"/>
        </dgm:presLayoutVars>
      </dgm:prSet>
      <dgm:spPr/>
    </dgm:pt>
  </dgm:ptLst>
  <dgm:cxnLst>
    <dgm:cxn modelId="{128C3710-963F-4022-ADEF-F34E175CB522}" type="presOf" srcId="{2FD0D2A7-9433-44EF-ACA2-0E6130BBCE73}" destId="{9CAFD6FC-7818-4BE3-B2ED-1034DC8AC06E}" srcOrd="0" destOrd="0" presId="urn:microsoft.com/office/officeart/2005/8/layout/vList2"/>
    <dgm:cxn modelId="{308AAF29-740C-411F-841B-CC00E2347458}" srcId="{2FD0D2A7-9433-44EF-ACA2-0E6130BBCE73}" destId="{B25F9CB1-0C67-4988-A716-3CE3EEAF6665}" srcOrd="3" destOrd="0" parTransId="{E89FBF2B-2804-4AB8-97E1-A0AFAAD00F24}" sibTransId="{EA8815AB-81C2-4597-B910-5E539169BDFD}"/>
    <dgm:cxn modelId="{CF92215C-734F-4CB2-AA5A-9E6BE0B64C76}" type="presOf" srcId="{7C22250E-FF61-496B-B0ED-41495733CD7B}" destId="{E80BC0CE-9B94-4CC5-9A38-2A9436465DA0}" srcOrd="0" destOrd="2" presId="urn:microsoft.com/office/officeart/2005/8/layout/vList2"/>
    <dgm:cxn modelId="{5B2AED5F-A9CB-4728-BB37-62F8362EA795}" type="presOf" srcId="{0D105CA7-CB5A-4E0B-A574-95E8C9C673FD}" destId="{D1AEC7C6-8B70-4F06-993C-FAA1E64FB37F}" srcOrd="0" destOrd="0" presId="urn:microsoft.com/office/officeart/2005/8/layout/vList2"/>
    <dgm:cxn modelId="{780A3243-071D-4C48-B3FC-E5F17F603463}" srcId="{2D96BCC1-756F-49D7-BC39-7B8BB4CFE143}" destId="{2FD0D2A7-9433-44EF-ACA2-0E6130BBCE73}" srcOrd="1" destOrd="0" parTransId="{D8ECAEE4-42DA-45A8-B526-740EAD235FD4}" sibTransId="{85312B77-E7F4-4A17-9463-63AFDDB31325}"/>
    <dgm:cxn modelId="{10AFF948-66DA-45C9-94E7-9968E531164A}" srcId="{2FD0D2A7-9433-44EF-ACA2-0E6130BBCE73}" destId="{7C22250E-FF61-496B-B0ED-41495733CD7B}" srcOrd="2" destOrd="0" parTransId="{F5194C04-941A-4622-81AE-F6453C48D986}" sibTransId="{6AF34D15-C05F-4046-8C69-628DD8B7C5D0}"/>
    <dgm:cxn modelId="{B5502671-612D-4739-9897-6CE29282FA09}" type="presOf" srcId="{B5E6C241-31C8-4012-8DC3-5FAB77DE82D2}" destId="{E80BC0CE-9B94-4CC5-9A38-2A9436465DA0}" srcOrd="0" destOrd="1" presId="urn:microsoft.com/office/officeart/2005/8/layout/vList2"/>
    <dgm:cxn modelId="{D47C5F71-6EDC-45BA-BD8C-1587E5E607F5}" srcId="{2FD0D2A7-9433-44EF-ACA2-0E6130BBCE73}" destId="{FE0EE8E5-4547-4B06-8627-0EF87D7726A9}" srcOrd="0" destOrd="0" parTransId="{0E8F6A57-4AE1-47D0-8E23-E248D717051B}" sibTransId="{163357FE-5039-4145-A8B9-E18909DAD35B}"/>
    <dgm:cxn modelId="{8ADC9953-ED9E-4053-BE54-9A918E6B89BB}" type="presOf" srcId="{FE0EE8E5-4547-4B06-8627-0EF87D7726A9}" destId="{E80BC0CE-9B94-4CC5-9A38-2A9436465DA0}" srcOrd="0" destOrd="0" presId="urn:microsoft.com/office/officeart/2005/8/layout/vList2"/>
    <dgm:cxn modelId="{9BE39185-0A08-4339-8980-CD0FDF63CBDA}" srcId="{2FD0D2A7-9433-44EF-ACA2-0E6130BBCE73}" destId="{B5E6C241-31C8-4012-8DC3-5FAB77DE82D2}" srcOrd="1" destOrd="0" parTransId="{E473EB61-0FCF-41AD-BDDE-ED5940CA743A}" sibTransId="{1B5F2C96-0D96-414C-80DF-309FECA9B839}"/>
    <dgm:cxn modelId="{3CCC63E8-764D-4D39-B051-A1B76A001BF9}" srcId="{2D96BCC1-756F-49D7-BC39-7B8BB4CFE143}" destId="{0D105CA7-CB5A-4E0B-A574-95E8C9C673FD}" srcOrd="0" destOrd="0" parTransId="{AFE0FE3D-3828-4025-837C-D0DDA228D9B2}" sibTransId="{7CC3CE92-6A04-47B7-8044-80275E51F378}"/>
    <dgm:cxn modelId="{9E9930F6-AD74-46A5-9470-1480D5D3432D}" type="presOf" srcId="{B25F9CB1-0C67-4988-A716-3CE3EEAF6665}" destId="{E80BC0CE-9B94-4CC5-9A38-2A9436465DA0}" srcOrd="0" destOrd="3" presId="urn:microsoft.com/office/officeart/2005/8/layout/vList2"/>
    <dgm:cxn modelId="{DED53CF7-76DF-472D-95F7-F09574054EEA}" type="presOf" srcId="{2D96BCC1-756F-49D7-BC39-7B8BB4CFE143}" destId="{0EC67F6E-B09F-4D4B-9017-02A36BC59225}" srcOrd="0" destOrd="0" presId="urn:microsoft.com/office/officeart/2005/8/layout/vList2"/>
    <dgm:cxn modelId="{8FCB5AC2-4194-43C8-B6C7-3B8BF3B680E2}" type="presParOf" srcId="{0EC67F6E-B09F-4D4B-9017-02A36BC59225}" destId="{D1AEC7C6-8B70-4F06-993C-FAA1E64FB37F}" srcOrd="0" destOrd="0" presId="urn:microsoft.com/office/officeart/2005/8/layout/vList2"/>
    <dgm:cxn modelId="{5077A0A8-B36A-42F3-8B8E-0D6567A7CC25}" type="presParOf" srcId="{0EC67F6E-B09F-4D4B-9017-02A36BC59225}" destId="{4F47293F-FBA3-4D2E-81D2-2425115C1471}" srcOrd="1" destOrd="0" presId="urn:microsoft.com/office/officeart/2005/8/layout/vList2"/>
    <dgm:cxn modelId="{0992E386-4C00-40C0-91DE-B7131017E2B3}" type="presParOf" srcId="{0EC67F6E-B09F-4D4B-9017-02A36BC59225}" destId="{9CAFD6FC-7818-4BE3-B2ED-1034DC8AC06E}" srcOrd="2" destOrd="0" presId="urn:microsoft.com/office/officeart/2005/8/layout/vList2"/>
    <dgm:cxn modelId="{4C26092C-6199-481B-B68A-62DEF91EDC5A}" type="presParOf" srcId="{0EC67F6E-B09F-4D4B-9017-02A36BC59225}" destId="{E80BC0CE-9B94-4CC5-9A38-2A9436465DA0}"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F284B03-98D3-49D2-8430-150EC7D4B7F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E397269-52DE-4C6E-891E-91BDE67B8FA5}">
      <dgm:prSet/>
      <dgm:spPr/>
      <dgm:t>
        <a:bodyPr/>
        <a:lstStyle/>
        <a:p>
          <a:r>
            <a:rPr lang="en-US"/>
            <a:t>You may bear witness to a public arrest</a:t>
          </a:r>
        </a:p>
      </dgm:t>
    </dgm:pt>
    <dgm:pt modelId="{F95EA1E3-0863-45ED-ABD5-FDD66CD4D328}" type="parTrans" cxnId="{878C7079-06BD-49DE-8583-0AF58D68EBA2}">
      <dgm:prSet/>
      <dgm:spPr/>
      <dgm:t>
        <a:bodyPr/>
        <a:lstStyle/>
        <a:p>
          <a:endParaRPr lang="en-US"/>
        </a:p>
      </dgm:t>
    </dgm:pt>
    <dgm:pt modelId="{D5B723E9-85A1-4DDB-88A5-B5207577096A}" type="sibTrans" cxnId="{878C7079-06BD-49DE-8583-0AF58D68EBA2}">
      <dgm:prSet/>
      <dgm:spPr/>
      <dgm:t>
        <a:bodyPr/>
        <a:lstStyle/>
        <a:p>
          <a:endParaRPr lang="en-US"/>
        </a:p>
      </dgm:t>
    </dgm:pt>
    <dgm:pt modelId="{0AAB2E25-A0DF-427B-8D53-C6774A3AEF4D}">
      <dgm:prSet/>
      <dgm:spPr/>
      <dgm:t>
        <a:bodyPr/>
        <a:lstStyle/>
        <a:p>
          <a:pPr>
            <a:buNone/>
          </a:pPr>
          <a:r>
            <a:rPr lang="en-US"/>
            <a:t>Physically interfering or verbally berating ICE could have adverse consequences for both you and the immigrant</a:t>
          </a:r>
        </a:p>
      </dgm:t>
    </dgm:pt>
    <dgm:pt modelId="{A8BDFE94-E2F6-4BF4-B093-89F9295C1E73}" type="parTrans" cxnId="{A1DDAE74-0819-46AE-AB85-79E8DF2B5C35}">
      <dgm:prSet/>
      <dgm:spPr/>
      <dgm:t>
        <a:bodyPr/>
        <a:lstStyle/>
        <a:p>
          <a:endParaRPr lang="en-US"/>
        </a:p>
      </dgm:t>
    </dgm:pt>
    <dgm:pt modelId="{32A65806-7B26-442D-878C-5471407E9BC8}" type="sibTrans" cxnId="{A1DDAE74-0819-46AE-AB85-79E8DF2B5C35}">
      <dgm:prSet/>
      <dgm:spPr/>
      <dgm:t>
        <a:bodyPr/>
        <a:lstStyle/>
        <a:p>
          <a:endParaRPr lang="en-US"/>
        </a:p>
      </dgm:t>
    </dgm:pt>
    <dgm:pt modelId="{B4E409F3-0849-421B-B2AD-93FBB3BD6614}">
      <dgm:prSet/>
      <dgm:spPr/>
      <dgm:t>
        <a:bodyPr/>
        <a:lstStyle/>
        <a:p>
          <a:r>
            <a:rPr lang="en-US"/>
            <a:t>Rights</a:t>
          </a:r>
          <a:r>
            <a:rPr lang="en-US" baseline="0"/>
            <a:t> and Assistance of Bystanders</a:t>
          </a:r>
          <a:endParaRPr lang="en-US"/>
        </a:p>
      </dgm:t>
    </dgm:pt>
    <dgm:pt modelId="{AAD423DC-8B9D-4528-9C18-F158809A7024}" type="parTrans" cxnId="{9FAFA4DF-FC8C-4C1D-B4BC-9263073C7A4C}">
      <dgm:prSet/>
      <dgm:spPr/>
      <dgm:t>
        <a:bodyPr/>
        <a:lstStyle/>
        <a:p>
          <a:endParaRPr lang="en-US"/>
        </a:p>
      </dgm:t>
    </dgm:pt>
    <dgm:pt modelId="{17840DFE-61BB-430E-9C61-DE943B119D7F}" type="sibTrans" cxnId="{9FAFA4DF-FC8C-4C1D-B4BC-9263073C7A4C}">
      <dgm:prSet/>
      <dgm:spPr/>
      <dgm:t>
        <a:bodyPr/>
        <a:lstStyle/>
        <a:p>
          <a:endParaRPr lang="en-US"/>
        </a:p>
      </dgm:t>
    </dgm:pt>
    <dgm:pt modelId="{0EBD2BFA-D509-4CD3-A17D-038DE3B5FE14}">
      <dgm:prSet/>
      <dgm:spPr/>
      <dgm:t>
        <a:bodyPr/>
        <a:lstStyle/>
        <a:p>
          <a:r>
            <a:rPr lang="en-US"/>
            <a:t>You can help by keeping calm and promoting calm</a:t>
          </a:r>
        </a:p>
      </dgm:t>
    </dgm:pt>
    <dgm:pt modelId="{4F5DD586-19F5-4D1C-952D-BE25290DA318}" type="parTrans" cxnId="{77D8C73D-EA84-446E-AB67-52C469EE58D6}">
      <dgm:prSet/>
      <dgm:spPr/>
      <dgm:t>
        <a:bodyPr/>
        <a:lstStyle/>
        <a:p>
          <a:endParaRPr lang="en-US"/>
        </a:p>
      </dgm:t>
    </dgm:pt>
    <dgm:pt modelId="{D6B6D6F7-8585-4B0B-86BE-D95D511DAC63}" type="sibTrans" cxnId="{77D8C73D-EA84-446E-AB67-52C469EE58D6}">
      <dgm:prSet/>
      <dgm:spPr/>
      <dgm:t>
        <a:bodyPr/>
        <a:lstStyle/>
        <a:p>
          <a:endParaRPr lang="en-US"/>
        </a:p>
      </dgm:t>
    </dgm:pt>
    <dgm:pt modelId="{D89EA965-8F83-4815-8877-68E7F5930043}">
      <dgm:prSet/>
      <dgm:spPr/>
      <dgm:t>
        <a:bodyPr/>
        <a:lstStyle/>
        <a:p>
          <a:r>
            <a:rPr lang="en-US"/>
            <a:t>Massachusetts law allows for videotaping, if using sound must be open and obvious</a:t>
          </a:r>
        </a:p>
      </dgm:t>
    </dgm:pt>
    <dgm:pt modelId="{B2374FB2-9EE7-4660-A6D3-4F76F86DDF67}" type="parTrans" cxnId="{35F96928-5A4A-4634-9575-7BD6DFE1C8AC}">
      <dgm:prSet/>
      <dgm:spPr/>
      <dgm:t>
        <a:bodyPr/>
        <a:lstStyle/>
        <a:p>
          <a:endParaRPr lang="en-US"/>
        </a:p>
      </dgm:t>
    </dgm:pt>
    <dgm:pt modelId="{D9A65116-DE40-40EF-BD4C-E2677974DF17}" type="sibTrans" cxnId="{35F96928-5A4A-4634-9575-7BD6DFE1C8AC}">
      <dgm:prSet/>
      <dgm:spPr/>
      <dgm:t>
        <a:bodyPr/>
        <a:lstStyle/>
        <a:p>
          <a:endParaRPr lang="en-US"/>
        </a:p>
      </dgm:t>
    </dgm:pt>
    <dgm:pt modelId="{5958D408-C167-430C-AF04-A13DFD5AFFAC}">
      <dgm:prSet/>
      <dgm:spPr/>
      <dgm:t>
        <a:bodyPr/>
        <a:lstStyle/>
        <a:p>
          <a:r>
            <a:rPr lang="en-US"/>
            <a:t>You have the right to witness and document</a:t>
          </a:r>
        </a:p>
      </dgm:t>
    </dgm:pt>
    <dgm:pt modelId="{022A2965-7A97-4E88-A421-B9CCD1574941}" type="parTrans" cxnId="{D56B473C-23B0-4894-A332-26AF7D844DD3}">
      <dgm:prSet/>
      <dgm:spPr/>
      <dgm:t>
        <a:bodyPr/>
        <a:lstStyle/>
        <a:p>
          <a:endParaRPr lang="en-US"/>
        </a:p>
      </dgm:t>
    </dgm:pt>
    <dgm:pt modelId="{5F3E529A-8F1E-43FE-87F5-8D85288A9135}" type="sibTrans" cxnId="{D56B473C-23B0-4894-A332-26AF7D844DD3}">
      <dgm:prSet/>
      <dgm:spPr/>
      <dgm:t>
        <a:bodyPr/>
        <a:lstStyle/>
        <a:p>
          <a:endParaRPr lang="en-US"/>
        </a:p>
      </dgm:t>
    </dgm:pt>
    <dgm:pt modelId="{5DFF3C9C-1CA7-4124-B7E3-8727A5B06CA8}">
      <dgm:prSet/>
      <dgm:spPr/>
      <dgm:t>
        <a:bodyPr/>
        <a:lstStyle/>
        <a:p>
          <a:r>
            <a:rPr lang="en-US"/>
            <a:t>You can ask if the immigrant wants you to call someone</a:t>
          </a:r>
        </a:p>
      </dgm:t>
    </dgm:pt>
    <dgm:pt modelId="{BF696948-A681-4FFD-9C72-403D6EC6AE86}" type="parTrans" cxnId="{8F48683A-392A-4AB5-8454-0C3A9C4E66F5}">
      <dgm:prSet/>
      <dgm:spPr/>
      <dgm:t>
        <a:bodyPr/>
        <a:lstStyle/>
        <a:p>
          <a:endParaRPr lang="en-US"/>
        </a:p>
      </dgm:t>
    </dgm:pt>
    <dgm:pt modelId="{0459974C-8241-4119-B149-5FF649F94C7A}" type="sibTrans" cxnId="{8F48683A-392A-4AB5-8454-0C3A9C4E66F5}">
      <dgm:prSet/>
      <dgm:spPr/>
      <dgm:t>
        <a:bodyPr/>
        <a:lstStyle/>
        <a:p>
          <a:endParaRPr lang="en-US"/>
        </a:p>
      </dgm:t>
    </dgm:pt>
    <dgm:pt modelId="{61848648-99FA-4516-95E3-10B81C89A67E}">
      <dgm:prSet/>
      <dgm:spPr/>
      <dgm:t>
        <a:bodyPr/>
        <a:lstStyle/>
        <a:p>
          <a:r>
            <a:rPr lang="en-US"/>
            <a:t>You can offer to help remaining family members by preparing bond packet, offering support</a:t>
          </a:r>
        </a:p>
      </dgm:t>
    </dgm:pt>
    <dgm:pt modelId="{90DA0FAE-75C6-4F62-96FD-DB70E3362ECF}" type="parTrans" cxnId="{70F4FD2F-5F35-44A9-B7CB-8BCCF6E5AB16}">
      <dgm:prSet/>
      <dgm:spPr/>
      <dgm:t>
        <a:bodyPr/>
        <a:lstStyle/>
        <a:p>
          <a:endParaRPr lang="en-US"/>
        </a:p>
      </dgm:t>
    </dgm:pt>
    <dgm:pt modelId="{BAA2448A-4190-46F7-9C49-6A8D1646AC4A}" type="sibTrans" cxnId="{70F4FD2F-5F35-44A9-B7CB-8BCCF6E5AB16}">
      <dgm:prSet/>
      <dgm:spPr/>
      <dgm:t>
        <a:bodyPr/>
        <a:lstStyle/>
        <a:p>
          <a:endParaRPr lang="en-US"/>
        </a:p>
      </dgm:t>
    </dgm:pt>
    <dgm:pt modelId="{D448B8B2-FA9F-4C78-A9C1-DC798391EB57}" type="pres">
      <dgm:prSet presAssocID="{9F284B03-98D3-49D2-8430-150EC7D4B7F8}" presName="linear" presStyleCnt="0">
        <dgm:presLayoutVars>
          <dgm:animLvl val="lvl"/>
          <dgm:resizeHandles val="exact"/>
        </dgm:presLayoutVars>
      </dgm:prSet>
      <dgm:spPr/>
    </dgm:pt>
    <dgm:pt modelId="{87F33C1B-DEB2-42E2-8C1D-C736FA93DD33}" type="pres">
      <dgm:prSet presAssocID="{BE397269-52DE-4C6E-891E-91BDE67B8FA5}" presName="parentText" presStyleLbl="node1" presStyleIdx="0" presStyleCnt="3">
        <dgm:presLayoutVars>
          <dgm:chMax val="0"/>
          <dgm:bulletEnabled val="1"/>
        </dgm:presLayoutVars>
      </dgm:prSet>
      <dgm:spPr/>
    </dgm:pt>
    <dgm:pt modelId="{EB0B0A85-9744-4A72-A11C-ABA9A94BAA84}" type="pres">
      <dgm:prSet presAssocID="{D5B723E9-85A1-4DDB-88A5-B5207577096A}" presName="spacer" presStyleCnt="0"/>
      <dgm:spPr/>
    </dgm:pt>
    <dgm:pt modelId="{2224EC29-C838-4426-8D36-34418CDD4534}" type="pres">
      <dgm:prSet presAssocID="{0AAB2E25-A0DF-427B-8D53-C6774A3AEF4D}" presName="parentText" presStyleLbl="node1" presStyleIdx="1" presStyleCnt="3">
        <dgm:presLayoutVars>
          <dgm:chMax val="0"/>
          <dgm:bulletEnabled val="1"/>
        </dgm:presLayoutVars>
      </dgm:prSet>
      <dgm:spPr/>
    </dgm:pt>
    <dgm:pt modelId="{138B765D-949F-4DDC-BC0A-493C64EC89A1}" type="pres">
      <dgm:prSet presAssocID="{32A65806-7B26-442D-878C-5471407E9BC8}" presName="spacer" presStyleCnt="0"/>
      <dgm:spPr/>
    </dgm:pt>
    <dgm:pt modelId="{C4854E21-9E7A-4513-A7BE-5C6E0FDCF09F}" type="pres">
      <dgm:prSet presAssocID="{B4E409F3-0849-421B-B2AD-93FBB3BD6614}" presName="parentText" presStyleLbl="node1" presStyleIdx="2" presStyleCnt="3">
        <dgm:presLayoutVars>
          <dgm:chMax val="0"/>
          <dgm:bulletEnabled val="1"/>
        </dgm:presLayoutVars>
      </dgm:prSet>
      <dgm:spPr/>
    </dgm:pt>
    <dgm:pt modelId="{A625D74D-5369-4E8B-A616-50DBC9CB9E7C}" type="pres">
      <dgm:prSet presAssocID="{B4E409F3-0849-421B-B2AD-93FBB3BD6614}" presName="childText" presStyleLbl="revTx" presStyleIdx="0" presStyleCnt="1">
        <dgm:presLayoutVars>
          <dgm:bulletEnabled val="1"/>
        </dgm:presLayoutVars>
      </dgm:prSet>
      <dgm:spPr/>
    </dgm:pt>
  </dgm:ptLst>
  <dgm:cxnLst>
    <dgm:cxn modelId="{BEFC4F17-2892-4800-9E60-2031B7E9F89E}" type="presOf" srcId="{0EBD2BFA-D509-4CD3-A17D-038DE3B5FE14}" destId="{A625D74D-5369-4E8B-A616-50DBC9CB9E7C}" srcOrd="0" destOrd="0" presId="urn:microsoft.com/office/officeart/2005/8/layout/vList2"/>
    <dgm:cxn modelId="{784E301F-3745-4BC6-A581-7FEA284DAA27}" type="presOf" srcId="{5DFF3C9C-1CA7-4124-B7E3-8727A5B06CA8}" destId="{A625D74D-5369-4E8B-A616-50DBC9CB9E7C}" srcOrd="0" destOrd="3" presId="urn:microsoft.com/office/officeart/2005/8/layout/vList2"/>
    <dgm:cxn modelId="{35F96928-5A4A-4634-9575-7BD6DFE1C8AC}" srcId="{B4E409F3-0849-421B-B2AD-93FBB3BD6614}" destId="{D89EA965-8F83-4815-8877-68E7F5930043}" srcOrd="1" destOrd="0" parTransId="{B2374FB2-9EE7-4660-A6D3-4F76F86DDF67}" sibTransId="{D9A65116-DE40-40EF-BD4C-E2677974DF17}"/>
    <dgm:cxn modelId="{70F4FD2F-5F35-44A9-B7CB-8BCCF6E5AB16}" srcId="{B4E409F3-0849-421B-B2AD-93FBB3BD6614}" destId="{61848648-99FA-4516-95E3-10B81C89A67E}" srcOrd="4" destOrd="0" parTransId="{90DA0FAE-75C6-4F62-96FD-DB70E3362ECF}" sibTransId="{BAA2448A-4190-46F7-9C49-6A8D1646AC4A}"/>
    <dgm:cxn modelId="{3F12C732-D126-43A2-B8A2-2D963D9D6BE2}" type="presOf" srcId="{61848648-99FA-4516-95E3-10B81C89A67E}" destId="{A625D74D-5369-4E8B-A616-50DBC9CB9E7C}" srcOrd="0" destOrd="4" presId="urn:microsoft.com/office/officeart/2005/8/layout/vList2"/>
    <dgm:cxn modelId="{8F48683A-392A-4AB5-8454-0C3A9C4E66F5}" srcId="{B4E409F3-0849-421B-B2AD-93FBB3BD6614}" destId="{5DFF3C9C-1CA7-4124-B7E3-8727A5B06CA8}" srcOrd="3" destOrd="0" parTransId="{BF696948-A681-4FFD-9C72-403D6EC6AE86}" sibTransId="{0459974C-8241-4119-B149-5FF649F94C7A}"/>
    <dgm:cxn modelId="{D56B473C-23B0-4894-A332-26AF7D844DD3}" srcId="{B4E409F3-0849-421B-B2AD-93FBB3BD6614}" destId="{5958D408-C167-430C-AF04-A13DFD5AFFAC}" srcOrd="2" destOrd="0" parTransId="{022A2965-7A97-4E88-A421-B9CCD1574941}" sibTransId="{5F3E529A-8F1E-43FE-87F5-8D85288A9135}"/>
    <dgm:cxn modelId="{77D8C73D-EA84-446E-AB67-52C469EE58D6}" srcId="{B4E409F3-0849-421B-B2AD-93FBB3BD6614}" destId="{0EBD2BFA-D509-4CD3-A17D-038DE3B5FE14}" srcOrd="0" destOrd="0" parTransId="{4F5DD586-19F5-4D1C-952D-BE25290DA318}" sibTransId="{D6B6D6F7-8585-4B0B-86BE-D95D511DAC63}"/>
    <dgm:cxn modelId="{96388144-2D92-481F-94A9-FDD7514BF66C}" type="presOf" srcId="{B4E409F3-0849-421B-B2AD-93FBB3BD6614}" destId="{C4854E21-9E7A-4513-A7BE-5C6E0FDCF09F}" srcOrd="0" destOrd="0" presId="urn:microsoft.com/office/officeart/2005/8/layout/vList2"/>
    <dgm:cxn modelId="{A1DDAE74-0819-46AE-AB85-79E8DF2B5C35}" srcId="{9F284B03-98D3-49D2-8430-150EC7D4B7F8}" destId="{0AAB2E25-A0DF-427B-8D53-C6774A3AEF4D}" srcOrd="1" destOrd="0" parTransId="{A8BDFE94-E2F6-4BF4-B093-89F9295C1E73}" sibTransId="{32A65806-7B26-442D-878C-5471407E9BC8}"/>
    <dgm:cxn modelId="{878C7079-06BD-49DE-8583-0AF58D68EBA2}" srcId="{9F284B03-98D3-49D2-8430-150EC7D4B7F8}" destId="{BE397269-52DE-4C6E-891E-91BDE67B8FA5}" srcOrd="0" destOrd="0" parTransId="{F95EA1E3-0863-45ED-ABD5-FDD66CD4D328}" sibTransId="{D5B723E9-85A1-4DDB-88A5-B5207577096A}"/>
    <dgm:cxn modelId="{F8008A8D-42AC-4970-991E-E3E49C2E365D}" type="presOf" srcId="{BE397269-52DE-4C6E-891E-91BDE67B8FA5}" destId="{87F33C1B-DEB2-42E2-8C1D-C736FA93DD33}" srcOrd="0" destOrd="0" presId="urn:microsoft.com/office/officeart/2005/8/layout/vList2"/>
    <dgm:cxn modelId="{8A76039C-6451-4656-9677-9874E5069263}" type="presOf" srcId="{D89EA965-8F83-4815-8877-68E7F5930043}" destId="{A625D74D-5369-4E8B-A616-50DBC9CB9E7C}" srcOrd="0" destOrd="1" presId="urn:microsoft.com/office/officeart/2005/8/layout/vList2"/>
    <dgm:cxn modelId="{7FD5A7A1-A183-4F7A-9281-5DA2BF9CD302}" type="presOf" srcId="{0AAB2E25-A0DF-427B-8D53-C6774A3AEF4D}" destId="{2224EC29-C838-4426-8D36-34418CDD4534}" srcOrd="0" destOrd="0" presId="urn:microsoft.com/office/officeart/2005/8/layout/vList2"/>
    <dgm:cxn modelId="{9FAFA4DF-FC8C-4C1D-B4BC-9263073C7A4C}" srcId="{9F284B03-98D3-49D2-8430-150EC7D4B7F8}" destId="{B4E409F3-0849-421B-B2AD-93FBB3BD6614}" srcOrd="2" destOrd="0" parTransId="{AAD423DC-8B9D-4528-9C18-F158809A7024}" sibTransId="{17840DFE-61BB-430E-9C61-DE943B119D7F}"/>
    <dgm:cxn modelId="{D1703EE4-A7E0-470F-A23F-E0A7147C8BE3}" type="presOf" srcId="{5958D408-C167-430C-AF04-A13DFD5AFFAC}" destId="{A625D74D-5369-4E8B-A616-50DBC9CB9E7C}" srcOrd="0" destOrd="2" presId="urn:microsoft.com/office/officeart/2005/8/layout/vList2"/>
    <dgm:cxn modelId="{9ACF3AF8-C29A-4AC6-8BF7-6830E70CCFF8}" type="presOf" srcId="{9F284B03-98D3-49D2-8430-150EC7D4B7F8}" destId="{D448B8B2-FA9F-4C78-A9C1-DC798391EB57}" srcOrd="0" destOrd="0" presId="urn:microsoft.com/office/officeart/2005/8/layout/vList2"/>
    <dgm:cxn modelId="{6580695E-2753-4D13-BEAD-4488410A3E23}" type="presParOf" srcId="{D448B8B2-FA9F-4C78-A9C1-DC798391EB57}" destId="{87F33C1B-DEB2-42E2-8C1D-C736FA93DD33}" srcOrd="0" destOrd="0" presId="urn:microsoft.com/office/officeart/2005/8/layout/vList2"/>
    <dgm:cxn modelId="{5F8F0FB9-FE07-455E-A685-13862B85FEE1}" type="presParOf" srcId="{D448B8B2-FA9F-4C78-A9C1-DC798391EB57}" destId="{EB0B0A85-9744-4A72-A11C-ABA9A94BAA84}" srcOrd="1" destOrd="0" presId="urn:microsoft.com/office/officeart/2005/8/layout/vList2"/>
    <dgm:cxn modelId="{40CAB419-8A75-45B5-A556-1A81FDAE814E}" type="presParOf" srcId="{D448B8B2-FA9F-4C78-A9C1-DC798391EB57}" destId="{2224EC29-C838-4426-8D36-34418CDD4534}" srcOrd="2" destOrd="0" presId="urn:microsoft.com/office/officeart/2005/8/layout/vList2"/>
    <dgm:cxn modelId="{2D39A50B-1507-41B0-A6CF-0C87F38DEF5B}" type="presParOf" srcId="{D448B8B2-FA9F-4C78-A9C1-DC798391EB57}" destId="{138B765D-949F-4DDC-BC0A-493C64EC89A1}" srcOrd="3" destOrd="0" presId="urn:microsoft.com/office/officeart/2005/8/layout/vList2"/>
    <dgm:cxn modelId="{CB969583-72BA-4526-BD00-099C44EF1072}" type="presParOf" srcId="{D448B8B2-FA9F-4C78-A9C1-DC798391EB57}" destId="{C4854E21-9E7A-4513-A7BE-5C6E0FDCF09F}" srcOrd="4" destOrd="0" presId="urn:microsoft.com/office/officeart/2005/8/layout/vList2"/>
    <dgm:cxn modelId="{DE93BEAD-E286-4A28-AB3F-A464B03CC823}" type="presParOf" srcId="{D448B8B2-FA9F-4C78-A9C1-DC798391EB57}" destId="{A625D74D-5369-4E8B-A616-50DBC9CB9E7C}"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17E2376-AC75-4A48-9DA0-E5F2052F6977}" type="doc">
      <dgm:prSet loTypeId="urn:microsoft.com/office/officeart/2005/8/layout/list1" loCatId="list" qsTypeId="urn:microsoft.com/office/officeart/2005/8/quickstyle/simple1" qsCatId="simple" csTypeId="urn:microsoft.com/office/officeart/2005/8/colors/accent2_2" csCatId="accent2" phldr="1"/>
      <dgm:spPr/>
      <dgm:t>
        <a:bodyPr/>
        <a:lstStyle/>
        <a:p>
          <a:endParaRPr lang="en-US"/>
        </a:p>
      </dgm:t>
    </dgm:pt>
    <dgm:pt modelId="{3CA5B0C9-78B9-4EE0-85F8-A05544D71459}">
      <dgm:prSet/>
      <dgm:spPr/>
      <dgm:t>
        <a:bodyPr/>
        <a:lstStyle/>
        <a:p>
          <a:r>
            <a:rPr lang="en-US"/>
            <a:t>WHAT ARE WE LOOKING FOR?</a:t>
          </a:r>
        </a:p>
      </dgm:t>
    </dgm:pt>
    <dgm:pt modelId="{B79EA8D0-2EE4-492E-BB2F-F195D582B272}" type="parTrans" cxnId="{7BE1D242-AD49-4891-B07D-D01094668E9D}">
      <dgm:prSet/>
      <dgm:spPr/>
      <dgm:t>
        <a:bodyPr/>
        <a:lstStyle/>
        <a:p>
          <a:endParaRPr lang="en-US"/>
        </a:p>
      </dgm:t>
    </dgm:pt>
    <dgm:pt modelId="{B2D31138-60BD-4BBA-A195-F04488A5F730}" type="sibTrans" cxnId="{7BE1D242-AD49-4891-B07D-D01094668E9D}">
      <dgm:prSet/>
      <dgm:spPr/>
      <dgm:t>
        <a:bodyPr/>
        <a:lstStyle/>
        <a:p>
          <a:endParaRPr lang="en-US"/>
        </a:p>
      </dgm:t>
    </dgm:pt>
    <dgm:pt modelId="{B4AE1525-18FF-4420-AB4A-401E2B0E1B07}">
      <dgm:prSet/>
      <dgm:spPr/>
      <dgm:t>
        <a:bodyPr/>
        <a:lstStyle/>
        <a:p>
          <a:r>
            <a:rPr lang="en-US"/>
            <a:t>Random stops, non-targeted enforcement</a:t>
          </a:r>
        </a:p>
      </dgm:t>
    </dgm:pt>
    <dgm:pt modelId="{58EE2484-E7BD-4837-B8FA-96B33E4807D5}" type="parTrans" cxnId="{08739E8D-4890-4445-ABDF-08DE3124F0F0}">
      <dgm:prSet/>
      <dgm:spPr/>
      <dgm:t>
        <a:bodyPr/>
        <a:lstStyle/>
        <a:p>
          <a:endParaRPr lang="en-US"/>
        </a:p>
      </dgm:t>
    </dgm:pt>
    <dgm:pt modelId="{42DF71A0-F66E-4C01-9662-CE419E3C7D46}" type="sibTrans" cxnId="{08739E8D-4890-4445-ABDF-08DE3124F0F0}">
      <dgm:prSet/>
      <dgm:spPr/>
      <dgm:t>
        <a:bodyPr/>
        <a:lstStyle/>
        <a:p>
          <a:endParaRPr lang="en-US"/>
        </a:p>
      </dgm:t>
    </dgm:pt>
    <dgm:pt modelId="{F5A1B3B3-B18F-4C22-B850-03E5D326C4B7}">
      <dgm:prSet/>
      <dgm:spPr/>
      <dgm:t>
        <a:bodyPr/>
        <a:lstStyle/>
        <a:p>
          <a:r>
            <a:rPr lang="en-US"/>
            <a:t>Violence against immigrant</a:t>
          </a:r>
        </a:p>
      </dgm:t>
    </dgm:pt>
    <dgm:pt modelId="{A6126F03-B779-4B4A-BAF3-B44637C9BA15}" type="parTrans" cxnId="{DC397D73-8AB1-4C15-88A7-A2F8137D615C}">
      <dgm:prSet/>
      <dgm:spPr/>
      <dgm:t>
        <a:bodyPr/>
        <a:lstStyle/>
        <a:p>
          <a:endParaRPr lang="en-US"/>
        </a:p>
      </dgm:t>
    </dgm:pt>
    <dgm:pt modelId="{9900BE70-2CD8-42A6-9B7F-57D098576156}" type="sibTrans" cxnId="{DC397D73-8AB1-4C15-88A7-A2F8137D615C}">
      <dgm:prSet/>
      <dgm:spPr/>
      <dgm:t>
        <a:bodyPr/>
        <a:lstStyle/>
        <a:p>
          <a:endParaRPr lang="en-US"/>
        </a:p>
      </dgm:t>
    </dgm:pt>
    <dgm:pt modelId="{16785371-3C7D-4019-9DB4-9D5EA365DCCD}">
      <dgm:prSet/>
      <dgm:spPr/>
      <dgm:t>
        <a:bodyPr/>
        <a:lstStyle/>
        <a:p>
          <a:r>
            <a:rPr lang="en-US"/>
            <a:t>Harm, mistreatment to children</a:t>
          </a:r>
        </a:p>
      </dgm:t>
    </dgm:pt>
    <dgm:pt modelId="{736FAA76-79D9-4E66-B08E-CBAE897B013B}" type="parTrans" cxnId="{B6057992-B126-4EBB-B570-4D164744DF51}">
      <dgm:prSet/>
      <dgm:spPr/>
      <dgm:t>
        <a:bodyPr/>
        <a:lstStyle/>
        <a:p>
          <a:endParaRPr lang="en-US"/>
        </a:p>
      </dgm:t>
    </dgm:pt>
    <dgm:pt modelId="{B85DB657-DF97-412E-A544-EDA664C3A120}" type="sibTrans" cxnId="{B6057992-B126-4EBB-B570-4D164744DF51}">
      <dgm:prSet/>
      <dgm:spPr/>
      <dgm:t>
        <a:bodyPr/>
        <a:lstStyle/>
        <a:p>
          <a:endParaRPr lang="en-US"/>
        </a:p>
      </dgm:t>
    </dgm:pt>
    <dgm:pt modelId="{C4C27035-3FF1-4AFD-ADA5-55074FB1E655}">
      <dgm:prSet/>
      <dgm:spPr/>
      <dgm:t>
        <a:bodyPr/>
        <a:lstStyle/>
        <a:p>
          <a:r>
            <a:rPr lang="en-US"/>
            <a:t>Harm, mistreatment to pregnant women</a:t>
          </a:r>
        </a:p>
      </dgm:t>
    </dgm:pt>
    <dgm:pt modelId="{BA978CD1-193D-4F8E-AC8C-C1F956125058}" type="parTrans" cxnId="{0772C408-C470-4D75-95FC-B90956560555}">
      <dgm:prSet/>
      <dgm:spPr/>
      <dgm:t>
        <a:bodyPr/>
        <a:lstStyle/>
        <a:p>
          <a:endParaRPr lang="en-US"/>
        </a:p>
      </dgm:t>
    </dgm:pt>
    <dgm:pt modelId="{92B3F8FC-DAC3-4D65-9486-DC567C922D30}" type="sibTrans" cxnId="{0772C408-C470-4D75-95FC-B90956560555}">
      <dgm:prSet/>
      <dgm:spPr/>
      <dgm:t>
        <a:bodyPr/>
        <a:lstStyle/>
        <a:p>
          <a:endParaRPr lang="en-US"/>
        </a:p>
      </dgm:t>
    </dgm:pt>
    <dgm:pt modelId="{33AD3FCC-7D19-483C-8286-FC4072CB5B33}">
      <dgm:prSet/>
      <dgm:spPr/>
      <dgm:t>
        <a:bodyPr/>
        <a:lstStyle/>
        <a:p>
          <a:r>
            <a:rPr lang="en-US"/>
            <a:t>Long term residents, green card holders, those w/out any criminal record</a:t>
          </a:r>
        </a:p>
      </dgm:t>
    </dgm:pt>
    <dgm:pt modelId="{56B04941-3DDE-4FB1-B335-353C94430678}" type="parTrans" cxnId="{C140ACE9-0920-428D-878C-3D6452A6E018}">
      <dgm:prSet/>
      <dgm:spPr/>
      <dgm:t>
        <a:bodyPr/>
        <a:lstStyle/>
        <a:p>
          <a:endParaRPr lang="en-US"/>
        </a:p>
      </dgm:t>
    </dgm:pt>
    <dgm:pt modelId="{0E2108A2-14F3-459D-8A9E-5E985173ADA4}" type="sibTrans" cxnId="{C140ACE9-0920-428D-878C-3D6452A6E018}">
      <dgm:prSet/>
      <dgm:spPr/>
      <dgm:t>
        <a:bodyPr/>
        <a:lstStyle/>
        <a:p>
          <a:endParaRPr lang="en-US"/>
        </a:p>
      </dgm:t>
    </dgm:pt>
    <dgm:pt modelId="{01222CE7-9AA3-4170-8BD0-60A560C4E82C}">
      <dgm:prSet/>
      <dgm:spPr/>
      <dgm:t>
        <a:bodyPr/>
        <a:lstStyle/>
        <a:p>
          <a:r>
            <a:rPr lang="en-US"/>
            <a:t>Demeaning or outrageous behavior</a:t>
          </a:r>
        </a:p>
      </dgm:t>
    </dgm:pt>
    <dgm:pt modelId="{EC229DC3-0D33-4DF2-B184-6B5B253141B9}" type="parTrans" cxnId="{82BB38D7-3168-42D0-9F21-798459490719}">
      <dgm:prSet/>
      <dgm:spPr/>
      <dgm:t>
        <a:bodyPr/>
        <a:lstStyle/>
        <a:p>
          <a:endParaRPr lang="en-US"/>
        </a:p>
      </dgm:t>
    </dgm:pt>
    <dgm:pt modelId="{B5FA82ED-0FA3-42B4-A42F-C434B0878D1E}" type="sibTrans" cxnId="{82BB38D7-3168-42D0-9F21-798459490719}">
      <dgm:prSet/>
      <dgm:spPr/>
      <dgm:t>
        <a:bodyPr/>
        <a:lstStyle/>
        <a:p>
          <a:endParaRPr lang="en-US"/>
        </a:p>
      </dgm:t>
    </dgm:pt>
    <dgm:pt modelId="{AB17A0D1-0582-423C-9BC0-A689DD2E56EE}">
      <dgm:prSet/>
      <dgm:spPr/>
      <dgm:t>
        <a:bodyPr/>
        <a:lstStyle/>
        <a:p>
          <a:r>
            <a:rPr lang="en-US"/>
            <a:t>Violence against bystanders</a:t>
          </a:r>
        </a:p>
      </dgm:t>
    </dgm:pt>
    <dgm:pt modelId="{0E57075A-7A3F-41B6-90E0-B412F4E34627}" type="parTrans" cxnId="{3E46B2A5-9F31-4859-BF37-44069BD38F46}">
      <dgm:prSet/>
      <dgm:spPr/>
      <dgm:t>
        <a:bodyPr/>
        <a:lstStyle/>
        <a:p>
          <a:endParaRPr lang="en-US"/>
        </a:p>
      </dgm:t>
    </dgm:pt>
    <dgm:pt modelId="{F39B49E5-7CC4-47A8-98E7-363A11316A85}" type="sibTrans" cxnId="{3E46B2A5-9F31-4859-BF37-44069BD38F46}">
      <dgm:prSet/>
      <dgm:spPr/>
      <dgm:t>
        <a:bodyPr/>
        <a:lstStyle/>
        <a:p>
          <a:endParaRPr lang="en-US"/>
        </a:p>
      </dgm:t>
    </dgm:pt>
    <dgm:pt modelId="{218A5054-DB34-4766-A352-31C3DDACEDD6}">
      <dgm:prSet/>
      <dgm:spPr/>
      <dgm:t>
        <a:bodyPr/>
        <a:lstStyle/>
        <a:p>
          <a:r>
            <a:rPr lang="en-US"/>
            <a:t>REPORTS:</a:t>
          </a:r>
        </a:p>
      </dgm:t>
    </dgm:pt>
    <dgm:pt modelId="{E8021283-72B6-4A09-8455-46473B7A90B5}" type="parTrans" cxnId="{980DFD25-35CD-4B8B-A514-09F7EF3101D5}">
      <dgm:prSet/>
      <dgm:spPr/>
      <dgm:t>
        <a:bodyPr/>
        <a:lstStyle/>
        <a:p>
          <a:endParaRPr lang="en-US"/>
        </a:p>
      </dgm:t>
    </dgm:pt>
    <dgm:pt modelId="{C95F7309-B5F6-48BC-A7E6-58DFBC8E7EA4}" type="sibTrans" cxnId="{980DFD25-35CD-4B8B-A514-09F7EF3101D5}">
      <dgm:prSet/>
      <dgm:spPr/>
      <dgm:t>
        <a:bodyPr/>
        <a:lstStyle/>
        <a:p>
          <a:endParaRPr lang="en-US"/>
        </a:p>
      </dgm:t>
    </dgm:pt>
    <dgm:pt modelId="{24B021B4-A09D-414A-A034-EC38CAAA7CBF}">
      <dgm:prSet/>
      <dgm:spPr/>
      <dgm:t>
        <a:bodyPr/>
        <a:lstStyle/>
        <a:p>
          <a:r>
            <a:rPr lang="en-US"/>
            <a:t>ACLU: </a:t>
          </a:r>
          <a:r>
            <a:rPr lang="en-US" b="0" i="0"/>
            <a:t>617-482-3170</a:t>
          </a:r>
          <a:endParaRPr lang="en-US"/>
        </a:p>
      </dgm:t>
    </dgm:pt>
    <dgm:pt modelId="{538FCABD-3973-466D-9F46-25675E581BC0}" type="parTrans" cxnId="{8637BF33-A1F6-4841-8F03-B8A271ADA329}">
      <dgm:prSet/>
      <dgm:spPr/>
      <dgm:t>
        <a:bodyPr/>
        <a:lstStyle/>
        <a:p>
          <a:endParaRPr lang="en-US"/>
        </a:p>
      </dgm:t>
    </dgm:pt>
    <dgm:pt modelId="{5D58B586-4DB3-4C36-97C7-383F45756B09}" type="sibTrans" cxnId="{8637BF33-A1F6-4841-8F03-B8A271ADA329}">
      <dgm:prSet/>
      <dgm:spPr/>
      <dgm:t>
        <a:bodyPr/>
        <a:lstStyle/>
        <a:p>
          <a:endParaRPr lang="en-US"/>
        </a:p>
      </dgm:t>
    </dgm:pt>
    <dgm:pt modelId="{568156C4-227E-4C03-8AEF-A785EB8B0B44}">
      <dgm:prSet/>
      <dgm:spPr/>
      <dgm:t>
        <a:bodyPr/>
        <a:lstStyle/>
        <a:p>
          <a:r>
            <a:rPr lang="en-US"/>
            <a:t>Attorney General (ask for Civil Rights Division) </a:t>
          </a:r>
          <a:r>
            <a:rPr lang="en-US" b="0" i="0"/>
            <a:t>(617) 963-2000.</a:t>
          </a:r>
          <a:endParaRPr lang="en-US"/>
        </a:p>
      </dgm:t>
    </dgm:pt>
    <dgm:pt modelId="{2163C285-B335-417A-B8BC-7C5477322CF4}" type="parTrans" cxnId="{B9BFB3DD-F0AB-486A-B56A-3F6CB037859C}">
      <dgm:prSet/>
      <dgm:spPr/>
      <dgm:t>
        <a:bodyPr/>
        <a:lstStyle/>
        <a:p>
          <a:endParaRPr lang="en-US"/>
        </a:p>
      </dgm:t>
    </dgm:pt>
    <dgm:pt modelId="{9201C4FB-11F6-40E9-A756-E677113AE147}" type="sibTrans" cxnId="{B9BFB3DD-F0AB-486A-B56A-3F6CB037859C}">
      <dgm:prSet/>
      <dgm:spPr/>
      <dgm:t>
        <a:bodyPr/>
        <a:lstStyle/>
        <a:p>
          <a:endParaRPr lang="en-US"/>
        </a:p>
      </dgm:t>
    </dgm:pt>
    <dgm:pt modelId="{202AC03E-BABB-4314-AA1D-4A2F41591079}">
      <dgm:prSet/>
      <dgm:spPr/>
      <dgm:t>
        <a:bodyPr/>
        <a:lstStyle/>
        <a:p>
          <a:r>
            <a:rPr lang="en-US"/>
            <a:t>LUCE:  </a:t>
          </a:r>
          <a:r>
            <a:rPr lang="en-US" b="0" i="0"/>
            <a:t>617-370-5023</a:t>
          </a:r>
          <a:endParaRPr lang="en-US" b="0"/>
        </a:p>
      </dgm:t>
    </dgm:pt>
    <dgm:pt modelId="{9E1932A3-FBC1-4C89-85AA-DFF1AFE918AE}" type="parTrans" cxnId="{96D39638-0B72-45F4-82C6-F33012C2A323}">
      <dgm:prSet/>
      <dgm:spPr/>
      <dgm:t>
        <a:bodyPr/>
        <a:lstStyle/>
        <a:p>
          <a:endParaRPr lang="en-US"/>
        </a:p>
      </dgm:t>
    </dgm:pt>
    <dgm:pt modelId="{4C5EC710-24E2-4B2A-904C-9856858914A3}" type="sibTrans" cxnId="{96D39638-0B72-45F4-82C6-F33012C2A323}">
      <dgm:prSet/>
      <dgm:spPr/>
      <dgm:t>
        <a:bodyPr/>
        <a:lstStyle/>
        <a:p>
          <a:endParaRPr lang="en-US"/>
        </a:p>
      </dgm:t>
    </dgm:pt>
    <dgm:pt modelId="{7CAECE64-A70E-42FD-BD68-50547F7DCA4D}" type="pres">
      <dgm:prSet presAssocID="{817E2376-AC75-4A48-9DA0-E5F2052F6977}" presName="linear" presStyleCnt="0">
        <dgm:presLayoutVars>
          <dgm:dir/>
          <dgm:animLvl val="lvl"/>
          <dgm:resizeHandles val="exact"/>
        </dgm:presLayoutVars>
      </dgm:prSet>
      <dgm:spPr/>
    </dgm:pt>
    <dgm:pt modelId="{73DB192B-4F77-4103-8B5F-766B7BEAD2D1}" type="pres">
      <dgm:prSet presAssocID="{3CA5B0C9-78B9-4EE0-85F8-A05544D71459}" presName="parentLin" presStyleCnt="0"/>
      <dgm:spPr/>
    </dgm:pt>
    <dgm:pt modelId="{0399F448-A02C-4496-946E-68A388DD211E}" type="pres">
      <dgm:prSet presAssocID="{3CA5B0C9-78B9-4EE0-85F8-A05544D71459}" presName="parentLeftMargin" presStyleLbl="node1" presStyleIdx="0" presStyleCnt="2"/>
      <dgm:spPr/>
    </dgm:pt>
    <dgm:pt modelId="{75FEDC65-526A-40E7-8243-65F89A2D5ADB}" type="pres">
      <dgm:prSet presAssocID="{3CA5B0C9-78B9-4EE0-85F8-A05544D71459}" presName="parentText" presStyleLbl="node1" presStyleIdx="0" presStyleCnt="2">
        <dgm:presLayoutVars>
          <dgm:chMax val="0"/>
          <dgm:bulletEnabled val="1"/>
        </dgm:presLayoutVars>
      </dgm:prSet>
      <dgm:spPr/>
    </dgm:pt>
    <dgm:pt modelId="{57CE5AC9-4AE5-4F41-B6CD-0DF0DF21FEF6}" type="pres">
      <dgm:prSet presAssocID="{3CA5B0C9-78B9-4EE0-85F8-A05544D71459}" presName="negativeSpace" presStyleCnt="0"/>
      <dgm:spPr/>
    </dgm:pt>
    <dgm:pt modelId="{1918FCE0-0DDA-4137-B6FC-5556AB22F093}" type="pres">
      <dgm:prSet presAssocID="{3CA5B0C9-78B9-4EE0-85F8-A05544D71459}" presName="childText" presStyleLbl="conFgAcc1" presStyleIdx="0" presStyleCnt="2">
        <dgm:presLayoutVars>
          <dgm:bulletEnabled val="1"/>
        </dgm:presLayoutVars>
      </dgm:prSet>
      <dgm:spPr/>
    </dgm:pt>
    <dgm:pt modelId="{F7DDC4FD-47D4-4C9A-851F-EC9E7A5F4EEB}" type="pres">
      <dgm:prSet presAssocID="{B2D31138-60BD-4BBA-A195-F04488A5F730}" presName="spaceBetweenRectangles" presStyleCnt="0"/>
      <dgm:spPr/>
    </dgm:pt>
    <dgm:pt modelId="{81F423C5-36ED-4F13-8976-588CD77C4E52}" type="pres">
      <dgm:prSet presAssocID="{218A5054-DB34-4766-A352-31C3DDACEDD6}" presName="parentLin" presStyleCnt="0"/>
      <dgm:spPr/>
    </dgm:pt>
    <dgm:pt modelId="{4588BAD1-41ED-402F-B469-38F199C4C08B}" type="pres">
      <dgm:prSet presAssocID="{218A5054-DB34-4766-A352-31C3DDACEDD6}" presName="parentLeftMargin" presStyleLbl="node1" presStyleIdx="0" presStyleCnt="2"/>
      <dgm:spPr/>
    </dgm:pt>
    <dgm:pt modelId="{6E08FF23-7211-4026-99A7-751D09114ACD}" type="pres">
      <dgm:prSet presAssocID="{218A5054-DB34-4766-A352-31C3DDACEDD6}" presName="parentText" presStyleLbl="node1" presStyleIdx="1" presStyleCnt="2">
        <dgm:presLayoutVars>
          <dgm:chMax val="0"/>
          <dgm:bulletEnabled val="1"/>
        </dgm:presLayoutVars>
      </dgm:prSet>
      <dgm:spPr/>
    </dgm:pt>
    <dgm:pt modelId="{0EBA0E36-0B5E-403F-8569-0E8FAAE078F5}" type="pres">
      <dgm:prSet presAssocID="{218A5054-DB34-4766-A352-31C3DDACEDD6}" presName="negativeSpace" presStyleCnt="0"/>
      <dgm:spPr/>
    </dgm:pt>
    <dgm:pt modelId="{081BF328-ACCA-497B-81B3-80DE77898C49}" type="pres">
      <dgm:prSet presAssocID="{218A5054-DB34-4766-A352-31C3DDACEDD6}" presName="childText" presStyleLbl="conFgAcc1" presStyleIdx="1" presStyleCnt="2">
        <dgm:presLayoutVars>
          <dgm:bulletEnabled val="1"/>
        </dgm:presLayoutVars>
      </dgm:prSet>
      <dgm:spPr/>
    </dgm:pt>
  </dgm:ptLst>
  <dgm:cxnLst>
    <dgm:cxn modelId="{0772C408-C470-4D75-95FC-B90956560555}" srcId="{3CA5B0C9-78B9-4EE0-85F8-A05544D71459}" destId="{C4C27035-3FF1-4AFD-ADA5-55074FB1E655}" srcOrd="3" destOrd="0" parTransId="{BA978CD1-193D-4F8E-AC8C-C1F956125058}" sibTransId="{92B3F8FC-DAC3-4D65-9486-DC567C922D30}"/>
    <dgm:cxn modelId="{5F6DE71F-270A-43A7-98E9-58D0133FF7BF}" type="presOf" srcId="{33AD3FCC-7D19-483C-8286-FC4072CB5B33}" destId="{1918FCE0-0DDA-4137-B6FC-5556AB22F093}" srcOrd="0" destOrd="4" presId="urn:microsoft.com/office/officeart/2005/8/layout/list1"/>
    <dgm:cxn modelId="{980DFD25-35CD-4B8B-A514-09F7EF3101D5}" srcId="{817E2376-AC75-4A48-9DA0-E5F2052F6977}" destId="{218A5054-DB34-4766-A352-31C3DDACEDD6}" srcOrd="1" destOrd="0" parTransId="{E8021283-72B6-4A09-8455-46473B7A90B5}" sibTransId="{C95F7309-B5F6-48BC-A7E6-58DFBC8E7EA4}"/>
    <dgm:cxn modelId="{B0F5CF2A-E18E-41F1-AAB3-17DC2BD93946}" type="presOf" srcId="{218A5054-DB34-4766-A352-31C3DDACEDD6}" destId="{4588BAD1-41ED-402F-B469-38F199C4C08B}" srcOrd="0" destOrd="0" presId="urn:microsoft.com/office/officeart/2005/8/layout/list1"/>
    <dgm:cxn modelId="{9B856D32-B459-479C-B392-AE6A49DFC9A2}" type="presOf" srcId="{218A5054-DB34-4766-A352-31C3DDACEDD6}" destId="{6E08FF23-7211-4026-99A7-751D09114ACD}" srcOrd="1" destOrd="0" presId="urn:microsoft.com/office/officeart/2005/8/layout/list1"/>
    <dgm:cxn modelId="{8637BF33-A1F6-4841-8F03-B8A271ADA329}" srcId="{218A5054-DB34-4766-A352-31C3DDACEDD6}" destId="{24B021B4-A09D-414A-A034-EC38CAAA7CBF}" srcOrd="0" destOrd="0" parTransId="{538FCABD-3973-466D-9F46-25675E581BC0}" sibTransId="{5D58B586-4DB3-4C36-97C7-383F45756B09}"/>
    <dgm:cxn modelId="{96D39638-0B72-45F4-82C6-F33012C2A323}" srcId="{218A5054-DB34-4766-A352-31C3DDACEDD6}" destId="{202AC03E-BABB-4314-AA1D-4A2F41591079}" srcOrd="2" destOrd="0" parTransId="{9E1932A3-FBC1-4C89-85AA-DFF1AFE918AE}" sibTransId="{4C5EC710-24E2-4B2A-904C-9856858914A3}"/>
    <dgm:cxn modelId="{2DA72B40-2236-499E-B7C8-DF8655A8D493}" type="presOf" srcId="{3CA5B0C9-78B9-4EE0-85F8-A05544D71459}" destId="{75FEDC65-526A-40E7-8243-65F89A2D5ADB}" srcOrd="1" destOrd="0" presId="urn:microsoft.com/office/officeart/2005/8/layout/list1"/>
    <dgm:cxn modelId="{73A0655D-1896-4802-B943-D9CD8789778C}" type="presOf" srcId="{F5A1B3B3-B18F-4C22-B850-03E5D326C4B7}" destId="{1918FCE0-0DDA-4137-B6FC-5556AB22F093}" srcOrd="0" destOrd="1" presId="urn:microsoft.com/office/officeart/2005/8/layout/list1"/>
    <dgm:cxn modelId="{7BE1D242-AD49-4891-B07D-D01094668E9D}" srcId="{817E2376-AC75-4A48-9DA0-E5F2052F6977}" destId="{3CA5B0C9-78B9-4EE0-85F8-A05544D71459}" srcOrd="0" destOrd="0" parTransId="{B79EA8D0-2EE4-492E-BB2F-F195D582B272}" sibTransId="{B2D31138-60BD-4BBA-A195-F04488A5F730}"/>
    <dgm:cxn modelId="{DC397D73-8AB1-4C15-88A7-A2F8137D615C}" srcId="{3CA5B0C9-78B9-4EE0-85F8-A05544D71459}" destId="{F5A1B3B3-B18F-4C22-B850-03E5D326C4B7}" srcOrd="1" destOrd="0" parTransId="{A6126F03-B779-4B4A-BAF3-B44637C9BA15}" sibTransId="{9900BE70-2CD8-42A6-9B7F-57D098576156}"/>
    <dgm:cxn modelId="{695FFC82-84C7-40B7-BA91-59ACB2F20F98}" type="presOf" srcId="{202AC03E-BABB-4314-AA1D-4A2F41591079}" destId="{081BF328-ACCA-497B-81B3-80DE77898C49}" srcOrd="0" destOrd="2" presId="urn:microsoft.com/office/officeart/2005/8/layout/list1"/>
    <dgm:cxn modelId="{08739E8D-4890-4445-ABDF-08DE3124F0F0}" srcId="{3CA5B0C9-78B9-4EE0-85F8-A05544D71459}" destId="{B4AE1525-18FF-4420-AB4A-401E2B0E1B07}" srcOrd="0" destOrd="0" parTransId="{58EE2484-E7BD-4837-B8FA-96B33E4807D5}" sibTransId="{42DF71A0-F66E-4C01-9662-CE419E3C7D46}"/>
    <dgm:cxn modelId="{34150C8E-FE52-48F9-B093-286D162C8DFF}" type="presOf" srcId="{817E2376-AC75-4A48-9DA0-E5F2052F6977}" destId="{7CAECE64-A70E-42FD-BD68-50547F7DCA4D}" srcOrd="0" destOrd="0" presId="urn:microsoft.com/office/officeart/2005/8/layout/list1"/>
    <dgm:cxn modelId="{B6057992-B126-4EBB-B570-4D164744DF51}" srcId="{3CA5B0C9-78B9-4EE0-85F8-A05544D71459}" destId="{16785371-3C7D-4019-9DB4-9D5EA365DCCD}" srcOrd="2" destOrd="0" parTransId="{736FAA76-79D9-4E66-B08E-CBAE897B013B}" sibTransId="{B85DB657-DF97-412E-A544-EDA664C3A120}"/>
    <dgm:cxn modelId="{900CD49C-E5FE-408B-B0A6-A3DFE76E7855}" type="presOf" srcId="{24B021B4-A09D-414A-A034-EC38CAAA7CBF}" destId="{081BF328-ACCA-497B-81B3-80DE77898C49}" srcOrd="0" destOrd="0" presId="urn:microsoft.com/office/officeart/2005/8/layout/list1"/>
    <dgm:cxn modelId="{3E46B2A5-9F31-4859-BF37-44069BD38F46}" srcId="{3CA5B0C9-78B9-4EE0-85F8-A05544D71459}" destId="{AB17A0D1-0582-423C-9BC0-A689DD2E56EE}" srcOrd="6" destOrd="0" parTransId="{0E57075A-7A3F-41B6-90E0-B412F4E34627}" sibTransId="{F39B49E5-7CC4-47A8-98E7-363A11316A85}"/>
    <dgm:cxn modelId="{BDBDFEB1-E63E-4E3E-AA31-21A402B9C6BB}" type="presOf" srcId="{3CA5B0C9-78B9-4EE0-85F8-A05544D71459}" destId="{0399F448-A02C-4496-946E-68A388DD211E}" srcOrd="0" destOrd="0" presId="urn:microsoft.com/office/officeart/2005/8/layout/list1"/>
    <dgm:cxn modelId="{AB7A3CB6-305F-439F-AE0D-287C5B1D175E}" type="presOf" srcId="{16785371-3C7D-4019-9DB4-9D5EA365DCCD}" destId="{1918FCE0-0DDA-4137-B6FC-5556AB22F093}" srcOrd="0" destOrd="2" presId="urn:microsoft.com/office/officeart/2005/8/layout/list1"/>
    <dgm:cxn modelId="{C0EA26C3-9D82-49D9-9069-9A54A8ACA06F}" type="presOf" srcId="{C4C27035-3FF1-4AFD-ADA5-55074FB1E655}" destId="{1918FCE0-0DDA-4137-B6FC-5556AB22F093}" srcOrd="0" destOrd="3" presId="urn:microsoft.com/office/officeart/2005/8/layout/list1"/>
    <dgm:cxn modelId="{F21B9ECD-E393-4C5E-99D0-F4725F006180}" type="presOf" srcId="{568156C4-227E-4C03-8AEF-A785EB8B0B44}" destId="{081BF328-ACCA-497B-81B3-80DE77898C49}" srcOrd="0" destOrd="1" presId="urn:microsoft.com/office/officeart/2005/8/layout/list1"/>
    <dgm:cxn modelId="{C106C0CE-3A5F-4DD9-A543-B5DEED177C51}" type="presOf" srcId="{B4AE1525-18FF-4420-AB4A-401E2B0E1B07}" destId="{1918FCE0-0DDA-4137-B6FC-5556AB22F093}" srcOrd="0" destOrd="0" presId="urn:microsoft.com/office/officeart/2005/8/layout/list1"/>
    <dgm:cxn modelId="{82BB38D7-3168-42D0-9F21-798459490719}" srcId="{3CA5B0C9-78B9-4EE0-85F8-A05544D71459}" destId="{01222CE7-9AA3-4170-8BD0-60A560C4E82C}" srcOrd="5" destOrd="0" parTransId="{EC229DC3-0D33-4DF2-B184-6B5B253141B9}" sibTransId="{B5FA82ED-0FA3-42B4-A42F-C434B0878D1E}"/>
    <dgm:cxn modelId="{B9BFB3DD-F0AB-486A-B56A-3F6CB037859C}" srcId="{218A5054-DB34-4766-A352-31C3DDACEDD6}" destId="{568156C4-227E-4C03-8AEF-A785EB8B0B44}" srcOrd="1" destOrd="0" parTransId="{2163C285-B335-417A-B8BC-7C5477322CF4}" sibTransId="{9201C4FB-11F6-40E9-A756-E677113AE147}"/>
    <dgm:cxn modelId="{C140ACE9-0920-428D-878C-3D6452A6E018}" srcId="{3CA5B0C9-78B9-4EE0-85F8-A05544D71459}" destId="{33AD3FCC-7D19-483C-8286-FC4072CB5B33}" srcOrd="4" destOrd="0" parTransId="{56B04941-3DDE-4FB1-B335-353C94430678}" sibTransId="{0E2108A2-14F3-459D-8A9E-5E985173ADA4}"/>
    <dgm:cxn modelId="{B286D3FB-1754-490C-9830-37646289B9FE}" type="presOf" srcId="{01222CE7-9AA3-4170-8BD0-60A560C4E82C}" destId="{1918FCE0-0DDA-4137-B6FC-5556AB22F093}" srcOrd="0" destOrd="5" presId="urn:microsoft.com/office/officeart/2005/8/layout/list1"/>
    <dgm:cxn modelId="{6DC91AFF-58B8-47A8-9018-3CC42362B4F7}" type="presOf" srcId="{AB17A0D1-0582-423C-9BC0-A689DD2E56EE}" destId="{1918FCE0-0DDA-4137-B6FC-5556AB22F093}" srcOrd="0" destOrd="6" presId="urn:microsoft.com/office/officeart/2005/8/layout/list1"/>
    <dgm:cxn modelId="{395BEE4B-5199-4EED-9E88-B16DD71968FE}" type="presParOf" srcId="{7CAECE64-A70E-42FD-BD68-50547F7DCA4D}" destId="{73DB192B-4F77-4103-8B5F-766B7BEAD2D1}" srcOrd="0" destOrd="0" presId="urn:microsoft.com/office/officeart/2005/8/layout/list1"/>
    <dgm:cxn modelId="{C66B51E2-E494-435B-9125-CBDA9C0D3E54}" type="presParOf" srcId="{73DB192B-4F77-4103-8B5F-766B7BEAD2D1}" destId="{0399F448-A02C-4496-946E-68A388DD211E}" srcOrd="0" destOrd="0" presId="urn:microsoft.com/office/officeart/2005/8/layout/list1"/>
    <dgm:cxn modelId="{014E2481-E60B-40A6-833D-A1A2B26A911A}" type="presParOf" srcId="{73DB192B-4F77-4103-8B5F-766B7BEAD2D1}" destId="{75FEDC65-526A-40E7-8243-65F89A2D5ADB}" srcOrd="1" destOrd="0" presId="urn:microsoft.com/office/officeart/2005/8/layout/list1"/>
    <dgm:cxn modelId="{D58A2BCB-13A4-446F-9052-F9AC4AA10053}" type="presParOf" srcId="{7CAECE64-A70E-42FD-BD68-50547F7DCA4D}" destId="{57CE5AC9-4AE5-4F41-B6CD-0DF0DF21FEF6}" srcOrd="1" destOrd="0" presId="urn:microsoft.com/office/officeart/2005/8/layout/list1"/>
    <dgm:cxn modelId="{5A86C6CD-8ADD-422A-9343-4F483EABB361}" type="presParOf" srcId="{7CAECE64-A70E-42FD-BD68-50547F7DCA4D}" destId="{1918FCE0-0DDA-4137-B6FC-5556AB22F093}" srcOrd="2" destOrd="0" presId="urn:microsoft.com/office/officeart/2005/8/layout/list1"/>
    <dgm:cxn modelId="{1F82F1D6-A1C4-46D7-8053-0E18A657E5B8}" type="presParOf" srcId="{7CAECE64-A70E-42FD-BD68-50547F7DCA4D}" destId="{F7DDC4FD-47D4-4C9A-851F-EC9E7A5F4EEB}" srcOrd="3" destOrd="0" presId="urn:microsoft.com/office/officeart/2005/8/layout/list1"/>
    <dgm:cxn modelId="{EA8D8119-AD35-44F6-947A-E28CA4EAA476}" type="presParOf" srcId="{7CAECE64-A70E-42FD-BD68-50547F7DCA4D}" destId="{81F423C5-36ED-4F13-8976-588CD77C4E52}" srcOrd="4" destOrd="0" presId="urn:microsoft.com/office/officeart/2005/8/layout/list1"/>
    <dgm:cxn modelId="{B767C4F2-CB0C-403A-9408-0C196A644CA0}" type="presParOf" srcId="{81F423C5-36ED-4F13-8976-588CD77C4E52}" destId="{4588BAD1-41ED-402F-B469-38F199C4C08B}" srcOrd="0" destOrd="0" presId="urn:microsoft.com/office/officeart/2005/8/layout/list1"/>
    <dgm:cxn modelId="{1986E04C-41D2-4270-B29D-42E85AD862E9}" type="presParOf" srcId="{81F423C5-36ED-4F13-8976-588CD77C4E52}" destId="{6E08FF23-7211-4026-99A7-751D09114ACD}" srcOrd="1" destOrd="0" presId="urn:microsoft.com/office/officeart/2005/8/layout/list1"/>
    <dgm:cxn modelId="{9392C45B-AF4F-41EA-9F43-5108EFDE1B6E}" type="presParOf" srcId="{7CAECE64-A70E-42FD-BD68-50547F7DCA4D}" destId="{0EBA0E36-0B5E-403F-8569-0E8FAAE078F5}" srcOrd="5" destOrd="0" presId="urn:microsoft.com/office/officeart/2005/8/layout/list1"/>
    <dgm:cxn modelId="{2FC943D6-AC6F-4C62-A165-B4669D2C0E24}" type="presParOf" srcId="{7CAECE64-A70E-42FD-BD68-50547F7DCA4D}" destId="{081BF328-ACCA-497B-81B3-80DE77898C49}"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2D3127D-F817-4D93-85F6-8745070BC27A}"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A12C28C7-1174-4CA0-8296-6EBA25A29764}">
      <dgm:prSet/>
      <dgm:spPr/>
      <dgm:t>
        <a:bodyPr/>
        <a:lstStyle/>
        <a:p>
          <a:r>
            <a:rPr lang="en-US"/>
            <a:t>Private Attorneys:</a:t>
          </a:r>
        </a:p>
      </dgm:t>
    </dgm:pt>
    <dgm:pt modelId="{6570C5A1-AFC5-499A-AD1D-7AA8805564FD}" type="parTrans" cxnId="{6C6475F8-6F04-4EAC-BA52-D7EFE5F7C1B7}">
      <dgm:prSet/>
      <dgm:spPr/>
      <dgm:t>
        <a:bodyPr/>
        <a:lstStyle/>
        <a:p>
          <a:endParaRPr lang="en-US"/>
        </a:p>
      </dgm:t>
    </dgm:pt>
    <dgm:pt modelId="{22AE461E-359B-4975-BD23-839B097DE4E2}" type="sibTrans" cxnId="{6C6475F8-6F04-4EAC-BA52-D7EFE5F7C1B7}">
      <dgm:prSet/>
      <dgm:spPr/>
      <dgm:t>
        <a:bodyPr/>
        <a:lstStyle/>
        <a:p>
          <a:endParaRPr lang="en-US"/>
        </a:p>
      </dgm:t>
    </dgm:pt>
    <dgm:pt modelId="{EF64DF70-97A2-4B0B-8916-96C8BF55B248}">
      <dgm:prSet/>
      <dgm:spPr/>
      <dgm:t>
        <a:bodyPr/>
        <a:lstStyle/>
        <a:p>
          <a:r>
            <a:rPr lang="en-US"/>
            <a:t>Flat fees versus hourly</a:t>
          </a:r>
        </a:p>
      </dgm:t>
    </dgm:pt>
    <dgm:pt modelId="{2EE20280-D0CD-45C9-90E6-9764B36B8322}" type="parTrans" cxnId="{E0D6C966-8A3D-40F4-B2CD-9ED4DAFFA7EB}">
      <dgm:prSet/>
      <dgm:spPr/>
      <dgm:t>
        <a:bodyPr/>
        <a:lstStyle/>
        <a:p>
          <a:endParaRPr lang="en-US"/>
        </a:p>
      </dgm:t>
    </dgm:pt>
    <dgm:pt modelId="{CA4908C7-3DAE-42CB-808A-AA50FBD0689D}" type="sibTrans" cxnId="{E0D6C966-8A3D-40F4-B2CD-9ED4DAFFA7EB}">
      <dgm:prSet/>
      <dgm:spPr/>
      <dgm:t>
        <a:bodyPr/>
        <a:lstStyle/>
        <a:p>
          <a:endParaRPr lang="en-US"/>
        </a:p>
      </dgm:t>
    </dgm:pt>
    <dgm:pt modelId="{F9096E2D-2C7E-4C2F-8555-F6BE3285FA50}">
      <dgm:prSet/>
      <dgm:spPr/>
      <dgm:t>
        <a:bodyPr/>
        <a:lstStyle/>
        <a:p>
          <a:r>
            <a:rPr lang="en-US"/>
            <a:t>Payment plans</a:t>
          </a:r>
        </a:p>
      </dgm:t>
    </dgm:pt>
    <dgm:pt modelId="{75AF6A82-4EF7-4981-A238-1E34BBFACFD3}" type="parTrans" cxnId="{3159A1F0-D6C9-409B-95BD-32FB25B9F490}">
      <dgm:prSet/>
      <dgm:spPr/>
      <dgm:t>
        <a:bodyPr/>
        <a:lstStyle/>
        <a:p>
          <a:endParaRPr lang="en-US"/>
        </a:p>
      </dgm:t>
    </dgm:pt>
    <dgm:pt modelId="{1CE51B2E-AAB3-46E5-BA54-0325A877E7DB}" type="sibTrans" cxnId="{3159A1F0-D6C9-409B-95BD-32FB25B9F490}">
      <dgm:prSet/>
      <dgm:spPr/>
      <dgm:t>
        <a:bodyPr/>
        <a:lstStyle/>
        <a:p>
          <a:endParaRPr lang="en-US"/>
        </a:p>
      </dgm:t>
    </dgm:pt>
    <dgm:pt modelId="{9630A56B-CBF4-4399-A9F5-D503C99BA311}">
      <dgm:prSet/>
      <dgm:spPr/>
      <dgm:t>
        <a:bodyPr/>
        <a:lstStyle/>
        <a:p>
          <a:r>
            <a:rPr lang="en-US"/>
            <a:t>Factors to consider:</a:t>
          </a:r>
        </a:p>
      </dgm:t>
    </dgm:pt>
    <dgm:pt modelId="{381D8F17-F91B-42B0-A34F-24DF6DE300DD}" type="parTrans" cxnId="{05A55280-709C-4217-9B25-2A3449104CD1}">
      <dgm:prSet/>
      <dgm:spPr/>
      <dgm:t>
        <a:bodyPr/>
        <a:lstStyle/>
        <a:p>
          <a:endParaRPr lang="en-US"/>
        </a:p>
      </dgm:t>
    </dgm:pt>
    <dgm:pt modelId="{EFE80557-9495-479D-8C9A-32BD2B2E2540}" type="sibTrans" cxnId="{05A55280-709C-4217-9B25-2A3449104CD1}">
      <dgm:prSet/>
      <dgm:spPr/>
      <dgm:t>
        <a:bodyPr/>
        <a:lstStyle/>
        <a:p>
          <a:endParaRPr lang="en-US"/>
        </a:p>
      </dgm:t>
    </dgm:pt>
    <dgm:pt modelId="{BB83EE23-EE99-4D47-9F27-F30D6B8C3404}">
      <dgm:prSet/>
      <dgm:spPr/>
      <dgm:t>
        <a:bodyPr/>
        <a:lstStyle/>
        <a:p>
          <a:r>
            <a:rPr lang="en-US"/>
            <a:t>Public Discipline – check the BBO website</a:t>
          </a:r>
        </a:p>
      </dgm:t>
    </dgm:pt>
    <dgm:pt modelId="{080489FF-31F0-4C21-9C36-A9E0E9B222EF}" type="parTrans" cxnId="{638C56C7-B83A-49CA-BBFC-9C0BDCE5A3ED}">
      <dgm:prSet/>
      <dgm:spPr/>
      <dgm:t>
        <a:bodyPr/>
        <a:lstStyle/>
        <a:p>
          <a:endParaRPr lang="en-US"/>
        </a:p>
      </dgm:t>
    </dgm:pt>
    <dgm:pt modelId="{C0991DCE-A2B9-498D-9DE7-AEBB17D18096}" type="sibTrans" cxnId="{638C56C7-B83A-49CA-BBFC-9C0BDCE5A3ED}">
      <dgm:prSet/>
      <dgm:spPr/>
      <dgm:t>
        <a:bodyPr/>
        <a:lstStyle/>
        <a:p>
          <a:endParaRPr lang="en-US"/>
        </a:p>
      </dgm:t>
    </dgm:pt>
    <dgm:pt modelId="{D91CAA2C-41D5-4274-98D6-0126D0F069C9}">
      <dgm:prSet/>
      <dgm:spPr/>
      <dgm:t>
        <a:bodyPr/>
        <a:lstStyle/>
        <a:p>
          <a:r>
            <a:rPr lang="en-US"/>
            <a:t>Online ratings</a:t>
          </a:r>
        </a:p>
      </dgm:t>
    </dgm:pt>
    <dgm:pt modelId="{48E20E8D-04CE-4BB8-9FA0-B0F346D8A5C0}" type="parTrans" cxnId="{579D2019-7D7B-4A7F-ACDB-1FE48FABE463}">
      <dgm:prSet/>
      <dgm:spPr/>
      <dgm:t>
        <a:bodyPr/>
        <a:lstStyle/>
        <a:p>
          <a:endParaRPr lang="en-US"/>
        </a:p>
      </dgm:t>
    </dgm:pt>
    <dgm:pt modelId="{714E8F6C-2059-467A-BDEB-CC1504DB244A}" type="sibTrans" cxnId="{579D2019-7D7B-4A7F-ACDB-1FE48FABE463}">
      <dgm:prSet/>
      <dgm:spPr/>
      <dgm:t>
        <a:bodyPr/>
        <a:lstStyle/>
        <a:p>
          <a:endParaRPr lang="en-US"/>
        </a:p>
      </dgm:t>
    </dgm:pt>
    <dgm:pt modelId="{829F1334-8ABB-4620-BFE5-07A1EDE65626}">
      <dgm:prSet/>
      <dgm:spPr/>
      <dgm:t>
        <a:bodyPr/>
        <a:lstStyle/>
        <a:p>
          <a:r>
            <a:rPr lang="en-US"/>
            <a:t>Word of Mouth</a:t>
          </a:r>
        </a:p>
      </dgm:t>
    </dgm:pt>
    <dgm:pt modelId="{C857CFD1-5974-4717-826E-7FBE7CD7EDF5}" type="parTrans" cxnId="{0CA730D8-4987-4686-BD9C-A0C736476D5E}">
      <dgm:prSet/>
      <dgm:spPr/>
      <dgm:t>
        <a:bodyPr/>
        <a:lstStyle/>
        <a:p>
          <a:endParaRPr lang="en-US"/>
        </a:p>
      </dgm:t>
    </dgm:pt>
    <dgm:pt modelId="{45D88BA6-DB18-431E-A471-F86B300DA450}" type="sibTrans" cxnId="{0CA730D8-4987-4686-BD9C-A0C736476D5E}">
      <dgm:prSet/>
      <dgm:spPr/>
      <dgm:t>
        <a:bodyPr/>
        <a:lstStyle/>
        <a:p>
          <a:endParaRPr lang="en-US"/>
        </a:p>
      </dgm:t>
    </dgm:pt>
    <dgm:pt modelId="{F7D53487-311F-4B3C-8BEC-FDE6738299D4}">
      <dgm:prSet/>
      <dgm:spPr/>
      <dgm:t>
        <a:bodyPr/>
        <a:lstStyle/>
        <a:p>
          <a:r>
            <a:rPr lang="en-US"/>
            <a:t>Referral basis </a:t>
          </a:r>
        </a:p>
      </dgm:t>
    </dgm:pt>
    <dgm:pt modelId="{D9F19174-3FFF-467A-BB77-E9ABF6215201}" type="parTrans" cxnId="{1496165F-9ADD-4113-958C-DF8782BA74FC}">
      <dgm:prSet/>
      <dgm:spPr/>
      <dgm:t>
        <a:bodyPr/>
        <a:lstStyle/>
        <a:p>
          <a:endParaRPr lang="en-US"/>
        </a:p>
      </dgm:t>
    </dgm:pt>
    <dgm:pt modelId="{02D878FF-9ADD-4029-A174-7724B34CE841}" type="sibTrans" cxnId="{1496165F-9ADD-4113-958C-DF8782BA74FC}">
      <dgm:prSet/>
      <dgm:spPr/>
      <dgm:t>
        <a:bodyPr/>
        <a:lstStyle/>
        <a:p>
          <a:endParaRPr lang="en-US"/>
        </a:p>
      </dgm:t>
    </dgm:pt>
    <dgm:pt modelId="{78EA4AB8-C5E2-439A-8451-5D8A78CF823A}">
      <dgm:prSet/>
      <dgm:spPr/>
      <dgm:t>
        <a:bodyPr/>
        <a:lstStyle/>
        <a:p>
          <a:r>
            <a:rPr lang="en-US"/>
            <a:t>Experience </a:t>
          </a:r>
        </a:p>
      </dgm:t>
    </dgm:pt>
    <dgm:pt modelId="{6D002930-6B79-4328-8CD9-8CB9FBA5C9C0}" type="parTrans" cxnId="{BF9F7336-5B57-4725-B3CF-86075AE5BE29}">
      <dgm:prSet/>
      <dgm:spPr/>
      <dgm:t>
        <a:bodyPr/>
        <a:lstStyle/>
        <a:p>
          <a:endParaRPr lang="en-US"/>
        </a:p>
      </dgm:t>
    </dgm:pt>
    <dgm:pt modelId="{B2793E9C-87F6-435D-894F-681138A9A11B}" type="sibTrans" cxnId="{BF9F7336-5B57-4725-B3CF-86075AE5BE29}">
      <dgm:prSet/>
      <dgm:spPr/>
      <dgm:t>
        <a:bodyPr/>
        <a:lstStyle/>
        <a:p>
          <a:endParaRPr lang="en-US"/>
        </a:p>
      </dgm:t>
    </dgm:pt>
    <dgm:pt modelId="{3008582B-C418-4CFA-B4B1-B037C0169725}">
      <dgm:prSet/>
      <dgm:spPr/>
      <dgm:t>
        <a:bodyPr/>
        <a:lstStyle/>
        <a:p>
          <a:r>
            <a:rPr lang="en-US"/>
            <a:t>Do they do bond/removal defense?</a:t>
          </a:r>
        </a:p>
      </dgm:t>
    </dgm:pt>
    <dgm:pt modelId="{87D133EF-AF01-41DE-A802-5CB6722C3110}" type="parTrans" cxnId="{1B8989AC-9BB5-4F9B-A3FB-50CE980A0695}">
      <dgm:prSet/>
      <dgm:spPr/>
      <dgm:t>
        <a:bodyPr/>
        <a:lstStyle/>
        <a:p>
          <a:endParaRPr lang="en-US"/>
        </a:p>
      </dgm:t>
    </dgm:pt>
    <dgm:pt modelId="{33D2D70A-8F16-45CD-85BA-6B0E9CAF2EDE}" type="sibTrans" cxnId="{1B8989AC-9BB5-4F9B-A3FB-50CE980A0695}">
      <dgm:prSet/>
      <dgm:spPr/>
      <dgm:t>
        <a:bodyPr/>
        <a:lstStyle/>
        <a:p>
          <a:endParaRPr lang="en-US"/>
        </a:p>
      </dgm:t>
    </dgm:pt>
    <dgm:pt modelId="{C5503ECB-FE2B-42E3-916D-FD60194C78ED}">
      <dgm:prSet/>
      <dgm:spPr/>
      <dgm:t>
        <a:bodyPr/>
        <a:lstStyle/>
        <a:p>
          <a:r>
            <a:rPr lang="en-US"/>
            <a:t>Are they a member of AILA?</a:t>
          </a:r>
        </a:p>
      </dgm:t>
    </dgm:pt>
    <dgm:pt modelId="{19C69E95-3850-4A82-A1AD-41ED17064CA8}" type="parTrans" cxnId="{4E79FB06-46A2-4780-A3D1-C5B684900A35}">
      <dgm:prSet/>
      <dgm:spPr/>
      <dgm:t>
        <a:bodyPr/>
        <a:lstStyle/>
        <a:p>
          <a:endParaRPr lang="en-US"/>
        </a:p>
      </dgm:t>
    </dgm:pt>
    <dgm:pt modelId="{7FB38E35-C9DD-4C7F-B5D5-58CD394F7E34}" type="sibTrans" cxnId="{4E79FB06-46A2-4780-A3D1-C5B684900A35}">
      <dgm:prSet/>
      <dgm:spPr/>
      <dgm:t>
        <a:bodyPr/>
        <a:lstStyle/>
        <a:p>
          <a:endParaRPr lang="en-US"/>
        </a:p>
      </dgm:t>
    </dgm:pt>
    <dgm:pt modelId="{62C3B158-37D9-4111-ABEC-B141E71F02A6}">
      <dgm:prSet/>
      <dgm:spPr/>
      <dgm:t>
        <a:bodyPr/>
        <a:lstStyle/>
        <a:p>
          <a:r>
            <a:rPr lang="en-US"/>
            <a:t>How often do they represent immigrants?</a:t>
          </a:r>
        </a:p>
      </dgm:t>
    </dgm:pt>
    <dgm:pt modelId="{26E14BEA-D1E8-4BAC-A7D2-B64681CAE5CD}" type="parTrans" cxnId="{F76ABD9D-9BEF-4E40-8B2E-16C496BCB9CE}">
      <dgm:prSet/>
      <dgm:spPr/>
      <dgm:t>
        <a:bodyPr/>
        <a:lstStyle/>
        <a:p>
          <a:endParaRPr lang="en-US"/>
        </a:p>
      </dgm:t>
    </dgm:pt>
    <dgm:pt modelId="{CEFBC5AE-AF2F-45C1-B467-681D63BE7E3F}" type="sibTrans" cxnId="{F76ABD9D-9BEF-4E40-8B2E-16C496BCB9CE}">
      <dgm:prSet/>
      <dgm:spPr/>
      <dgm:t>
        <a:bodyPr/>
        <a:lstStyle/>
        <a:p>
          <a:endParaRPr lang="en-US"/>
        </a:p>
      </dgm:t>
    </dgm:pt>
    <dgm:pt modelId="{545989BE-B039-45C2-98AD-473C1009F942}">
      <dgm:prSet/>
      <dgm:spPr/>
      <dgm:t>
        <a:bodyPr/>
        <a:lstStyle/>
        <a:p>
          <a:r>
            <a:rPr lang="en-US"/>
            <a:t>When is the last time they went to court?</a:t>
          </a:r>
        </a:p>
      </dgm:t>
    </dgm:pt>
    <dgm:pt modelId="{E4EEFE4A-1716-4314-BCD0-B2F86A7AE8A2}" type="parTrans" cxnId="{7A22C152-B651-4C0A-991B-C96D54A68C9C}">
      <dgm:prSet/>
      <dgm:spPr/>
      <dgm:t>
        <a:bodyPr/>
        <a:lstStyle/>
        <a:p>
          <a:endParaRPr lang="en-US"/>
        </a:p>
      </dgm:t>
    </dgm:pt>
    <dgm:pt modelId="{2CE39B95-BBEA-4798-9065-BCE2C18B1EC0}" type="sibTrans" cxnId="{7A22C152-B651-4C0A-991B-C96D54A68C9C}">
      <dgm:prSet/>
      <dgm:spPr/>
      <dgm:t>
        <a:bodyPr/>
        <a:lstStyle/>
        <a:p>
          <a:endParaRPr lang="en-US"/>
        </a:p>
      </dgm:t>
    </dgm:pt>
    <dgm:pt modelId="{C96FE9F2-E70E-4708-958C-1C5EA08CC803}">
      <dgm:prSet/>
      <dgm:spPr/>
      <dgm:t>
        <a:bodyPr/>
        <a:lstStyle/>
        <a:p>
          <a:r>
            <a:rPr lang="en-US"/>
            <a:t>https://www.massbbo.org/s/attorney-registration</a:t>
          </a:r>
        </a:p>
      </dgm:t>
    </dgm:pt>
    <dgm:pt modelId="{106E99A3-F2D1-4280-BF5B-7C70698357B3}" type="parTrans" cxnId="{C5939A4C-B165-49E0-8261-46B486455D8F}">
      <dgm:prSet/>
      <dgm:spPr/>
      <dgm:t>
        <a:bodyPr/>
        <a:lstStyle/>
        <a:p>
          <a:endParaRPr lang="en-US"/>
        </a:p>
      </dgm:t>
    </dgm:pt>
    <dgm:pt modelId="{AD2FDBCC-7AE5-4F5E-9F42-13E994B6C664}" type="sibTrans" cxnId="{C5939A4C-B165-49E0-8261-46B486455D8F}">
      <dgm:prSet/>
      <dgm:spPr/>
      <dgm:t>
        <a:bodyPr/>
        <a:lstStyle/>
        <a:p>
          <a:endParaRPr lang="en-US"/>
        </a:p>
      </dgm:t>
    </dgm:pt>
    <dgm:pt modelId="{52A4135E-EFA7-4BC6-B0D6-4EF444F3DA47}">
      <dgm:prSet/>
      <dgm:spPr/>
      <dgm:t>
        <a:bodyPr/>
        <a:lstStyle/>
        <a:p>
          <a:r>
            <a:rPr lang="en-US"/>
            <a:t>Refunds</a:t>
          </a:r>
        </a:p>
      </dgm:t>
    </dgm:pt>
    <dgm:pt modelId="{4BA03B3F-F8C7-4EE2-9B2B-FF9200ACC4F1}" type="parTrans" cxnId="{D4CDCBEA-24CD-40B9-A29F-68F0ABDB3D95}">
      <dgm:prSet/>
      <dgm:spPr/>
      <dgm:t>
        <a:bodyPr/>
        <a:lstStyle/>
        <a:p>
          <a:endParaRPr lang="en-US"/>
        </a:p>
      </dgm:t>
    </dgm:pt>
    <dgm:pt modelId="{46D3D8A3-1E30-4CE3-A0AA-BDD237EF6DDE}" type="sibTrans" cxnId="{D4CDCBEA-24CD-40B9-A29F-68F0ABDB3D95}">
      <dgm:prSet/>
      <dgm:spPr/>
      <dgm:t>
        <a:bodyPr/>
        <a:lstStyle/>
        <a:p>
          <a:endParaRPr lang="en-US"/>
        </a:p>
      </dgm:t>
    </dgm:pt>
    <dgm:pt modelId="{9C80B986-65A7-424C-B62F-21909F5C1E8B}" type="pres">
      <dgm:prSet presAssocID="{E2D3127D-F817-4D93-85F6-8745070BC27A}" presName="linear" presStyleCnt="0">
        <dgm:presLayoutVars>
          <dgm:animLvl val="lvl"/>
          <dgm:resizeHandles val="exact"/>
        </dgm:presLayoutVars>
      </dgm:prSet>
      <dgm:spPr/>
    </dgm:pt>
    <dgm:pt modelId="{07E02D6F-4192-442E-B151-37D2A07020EC}" type="pres">
      <dgm:prSet presAssocID="{A12C28C7-1174-4CA0-8296-6EBA25A29764}" presName="parentText" presStyleLbl="node1" presStyleIdx="0" presStyleCnt="2">
        <dgm:presLayoutVars>
          <dgm:chMax val="0"/>
          <dgm:bulletEnabled val="1"/>
        </dgm:presLayoutVars>
      </dgm:prSet>
      <dgm:spPr/>
    </dgm:pt>
    <dgm:pt modelId="{A2819BA5-2D35-484C-B0F0-42A574916988}" type="pres">
      <dgm:prSet presAssocID="{A12C28C7-1174-4CA0-8296-6EBA25A29764}" presName="childText" presStyleLbl="revTx" presStyleIdx="0" presStyleCnt="2">
        <dgm:presLayoutVars>
          <dgm:bulletEnabled val="1"/>
        </dgm:presLayoutVars>
      </dgm:prSet>
      <dgm:spPr/>
    </dgm:pt>
    <dgm:pt modelId="{03378D47-CAA2-4EEA-9F00-431192EEE9DD}" type="pres">
      <dgm:prSet presAssocID="{9630A56B-CBF4-4399-A9F5-D503C99BA311}" presName="parentText" presStyleLbl="node1" presStyleIdx="1" presStyleCnt="2">
        <dgm:presLayoutVars>
          <dgm:chMax val="0"/>
          <dgm:bulletEnabled val="1"/>
        </dgm:presLayoutVars>
      </dgm:prSet>
      <dgm:spPr/>
    </dgm:pt>
    <dgm:pt modelId="{1BBC16FC-7259-48C1-B21F-15C33D9425CF}" type="pres">
      <dgm:prSet presAssocID="{9630A56B-CBF4-4399-A9F5-D503C99BA311}" presName="childText" presStyleLbl="revTx" presStyleIdx="1" presStyleCnt="2">
        <dgm:presLayoutVars>
          <dgm:bulletEnabled val="1"/>
        </dgm:presLayoutVars>
      </dgm:prSet>
      <dgm:spPr/>
    </dgm:pt>
  </dgm:ptLst>
  <dgm:cxnLst>
    <dgm:cxn modelId="{4E79FB06-46A2-4780-A3D1-C5B684900A35}" srcId="{78EA4AB8-C5E2-439A-8451-5D8A78CF823A}" destId="{C5503ECB-FE2B-42E3-916D-FD60194C78ED}" srcOrd="1" destOrd="0" parTransId="{19C69E95-3850-4A82-A1AD-41ED17064CA8}" sibTransId="{7FB38E35-C9DD-4C7F-B5D5-58CD394F7E34}"/>
    <dgm:cxn modelId="{F91F2B0C-CBDC-4CF5-BB3F-4037D9FD4E61}" type="presOf" srcId="{F9096E2D-2C7E-4C2F-8555-F6BE3285FA50}" destId="{A2819BA5-2D35-484C-B0F0-42A574916988}" srcOrd="0" destOrd="1" presId="urn:microsoft.com/office/officeart/2005/8/layout/vList2"/>
    <dgm:cxn modelId="{579D2019-7D7B-4A7F-ACDB-1FE48FABE463}" srcId="{9630A56B-CBF4-4399-A9F5-D503C99BA311}" destId="{D91CAA2C-41D5-4274-98D6-0126D0F069C9}" srcOrd="1" destOrd="0" parTransId="{48E20E8D-04CE-4BB8-9FA0-B0F346D8A5C0}" sibTransId="{714E8F6C-2059-467A-BDEB-CC1504DB244A}"/>
    <dgm:cxn modelId="{59852622-205E-4041-A733-23D460E15228}" type="presOf" srcId="{52A4135E-EFA7-4BC6-B0D6-4EF444F3DA47}" destId="{A2819BA5-2D35-484C-B0F0-42A574916988}" srcOrd="0" destOrd="2" presId="urn:microsoft.com/office/officeart/2005/8/layout/vList2"/>
    <dgm:cxn modelId="{BF9F7336-5B57-4725-B3CF-86075AE5BE29}" srcId="{9630A56B-CBF4-4399-A9F5-D503C99BA311}" destId="{78EA4AB8-C5E2-439A-8451-5D8A78CF823A}" srcOrd="4" destOrd="0" parTransId="{6D002930-6B79-4328-8CD9-8CB9FBA5C9C0}" sibTransId="{B2793E9C-87F6-435D-894F-681138A9A11B}"/>
    <dgm:cxn modelId="{A189C238-DED6-4CC2-BCCD-43C31E64F355}" type="presOf" srcId="{EF64DF70-97A2-4B0B-8916-96C8BF55B248}" destId="{A2819BA5-2D35-484C-B0F0-42A574916988}" srcOrd="0" destOrd="0" presId="urn:microsoft.com/office/officeart/2005/8/layout/vList2"/>
    <dgm:cxn modelId="{F7B55B3A-1A9F-4FC0-8326-457DD00EF6B3}" type="presOf" srcId="{78EA4AB8-C5E2-439A-8451-5D8A78CF823A}" destId="{1BBC16FC-7259-48C1-B21F-15C33D9425CF}" srcOrd="0" destOrd="5" presId="urn:microsoft.com/office/officeart/2005/8/layout/vList2"/>
    <dgm:cxn modelId="{1496165F-9ADD-4113-958C-DF8782BA74FC}" srcId="{9630A56B-CBF4-4399-A9F5-D503C99BA311}" destId="{F7D53487-311F-4B3C-8BEC-FDE6738299D4}" srcOrd="3" destOrd="0" parTransId="{D9F19174-3FFF-467A-BB77-E9ABF6215201}" sibTransId="{02D878FF-9ADD-4029-A174-7724B34CE841}"/>
    <dgm:cxn modelId="{62649465-99B2-4EA2-89F2-0892B575D401}" type="presOf" srcId="{C5503ECB-FE2B-42E3-916D-FD60194C78ED}" destId="{1BBC16FC-7259-48C1-B21F-15C33D9425CF}" srcOrd="0" destOrd="7" presId="urn:microsoft.com/office/officeart/2005/8/layout/vList2"/>
    <dgm:cxn modelId="{0634C746-EE67-4A0B-AFFE-DD6DE1CA374C}" type="presOf" srcId="{E2D3127D-F817-4D93-85F6-8745070BC27A}" destId="{9C80B986-65A7-424C-B62F-21909F5C1E8B}" srcOrd="0" destOrd="0" presId="urn:microsoft.com/office/officeart/2005/8/layout/vList2"/>
    <dgm:cxn modelId="{E0D6C966-8A3D-40F4-B2CD-9ED4DAFFA7EB}" srcId="{A12C28C7-1174-4CA0-8296-6EBA25A29764}" destId="{EF64DF70-97A2-4B0B-8916-96C8BF55B248}" srcOrd="0" destOrd="0" parTransId="{2EE20280-D0CD-45C9-90E6-9764B36B8322}" sibTransId="{CA4908C7-3DAE-42CB-808A-AA50FBD0689D}"/>
    <dgm:cxn modelId="{C5939A4C-B165-49E0-8261-46B486455D8F}" srcId="{BB83EE23-EE99-4D47-9F27-F30D6B8C3404}" destId="{C96FE9F2-E70E-4708-958C-1C5EA08CC803}" srcOrd="0" destOrd="0" parTransId="{106E99A3-F2D1-4280-BF5B-7C70698357B3}" sibTransId="{AD2FDBCC-7AE5-4F5E-9F42-13E994B6C664}"/>
    <dgm:cxn modelId="{7A22C152-B651-4C0A-991B-C96D54A68C9C}" srcId="{78EA4AB8-C5E2-439A-8451-5D8A78CF823A}" destId="{545989BE-B039-45C2-98AD-473C1009F942}" srcOrd="3" destOrd="0" parTransId="{E4EEFE4A-1716-4314-BCD0-B2F86A7AE8A2}" sibTransId="{2CE39B95-BBEA-4798-9065-BCE2C18B1EC0}"/>
    <dgm:cxn modelId="{90F08C59-FF93-4546-889C-D51815966405}" type="presOf" srcId="{D91CAA2C-41D5-4274-98D6-0126D0F069C9}" destId="{1BBC16FC-7259-48C1-B21F-15C33D9425CF}" srcOrd="0" destOrd="2" presId="urn:microsoft.com/office/officeart/2005/8/layout/vList2"/>
    <dgm:cxn modelId="{4275C159-F915-494B-ADC3-A13CC120B720}" type="presOf" srcId="{62C3B158-37D9-4111-ABEC-B141E71F02A6}" destId="{1BBC16FC-7259-48C1-B21F-15C33D9425CF}" srcOrd="0" destOrd="8" presId="urn:microsoft.com/office/officeart/2005/8/layout/vList2"/>
    <dgm:cxn modelId="{4723505A-25B7-4B8C-AFE4-0B9F8C3F75F0}" type="presOf" srcId="{A12C28C7-1174-4CA0-8296-6EBA25A29764}" destId="{07E02D6F-4192-442E-B151-37D2A07020EC}" srcOrd="0" destOrd="0" presId="urn:microsoft.com/office/officeart/2005/8/layout/vList2"/>
    <dgm:cxn modelId="{05A55280-709C-4217-9B25-2A3449104CD1}" srcId="{E2D3127D-F817-4D93-85F6-8745070BC27A}" destId="{9630A56B-CBF4-4399-A9F5-D503C99BA311}" srcOrd="1" destOrd="0" parTransId="{381D8F17-F91B-42B0-A34F-24DF6DE300DD}" sibTransId="{EFE80557-9495-479D-8C9A-32BD2B2E2540}"/>
    <dgm:cxn modelId="{1C65AA98-9091-4779-906F-0FB6F888BE2A}" type="presOf" srcId="{BB83EE23-EE99-4D47-9F27-F30D6B8C3404}" destId="{1BBC16FC-7259-48C1-B21F-15C33D9425CF}" srcOrd="0" destOrd="0" presId="urn:microsoft.com/office/officeart/2005/8/layout/vList2"/>
    <dgm:cxn modelId="{F76ABD9D-9BEF-4E40-8B2E-16C496BCB9CE}" srcId="{78EA4AB8-C5E2-439A-8451-5D8A78CF823A}" destId="{62C3B158-37D9-4111-ABEC-B141E71F02A6}" srcOrd="2" destOrd="0" parTransId="{26E14BEA-D1E8-4BAC-A7D2-B64681CAE5CD}" sibTransId="{CEFBC5AE-AF2F-45C1-B467-681D63BE7E3F}"/>
    <dgm:cxn modelId="{1B8989AC-9BB5-4F9B-A3FB-50CE980A0695}" srcId="{78EA4AB8-C5E2-439A-8451-5D8A78CF823A}" destId="{3008582B-C418-4CFA-B4B1-B037C0169725}" srcOrd="0" destOrd="0" parTransId="{87D133EF-AF01-41DE-A802-5CB6722C3110}" sibTransId="{33D2D70A-8F16-45CD-85BA-6B0E9CAF2EDE}"/>
    <dgm:cxn modelId="{CAF154B1-EC60-46BD-AB44-D74AB5D6F295}" type="presOf" srcId="{3008582B-C418-4CFA-B4B1-B037C0169725}" destId="{1BBC16FC-7259-48C1-B21F-15C33D9425CF}" srcOrd="0" destOrd="6" presId="urn:microsoft.com/office/officeart/2005/8/layout/vList2"/>
    <dgm:cxn modelId="{8F4E5EB7-E4B8-4D6D-99DF-C3FA849EC5CA}" type="presOf" srcId="{545989BE-B039-45C2-98AD-473C1009F942}" destId="{1BBC16FC-7259-48C1-B21F-15C33D9425CF}" srcOrd="0" destOrd="9" presId="urn:microsoft.com/office/officeart/2005/8/layout/vList2"/>
    <dgm:cxn modelId="{EC967FBB-5126-4A43-8F12-27878A3F256C}" type="presOf" srcId="{9630A56B-CBF4-4399-A9F5-D503C99BA311}" destId="{03378D47-CAA2-4EEA-9F00-431192EEE9DD}" srcOrd="0" destOrd="0" presId="urn:microsoft.com/office/officeart/2005/8/layout/vList2"/>
    <dgm:cxn modelId="{638C56C7-B83A-49CA-BBFC-9C0BDCE5A3ED}" srcId="{9630A56B-CBF4-4399-A9F5-D503C99BA311}" destId="{BB83EE23-EE99-4D47-9F27-F30D6B8C3404}" srcOrd="0" destOrd="0" parTransId="{080489FF-31F0-4C21-9C36-A9E0E9B222EF}" sibTransId="{C0991DCE-A2B9-498D-9DE7-AEBB17D18096}"/>
    <dgm:cxn modelId="{504587D3-F99D-4CC4-8244-968A752022EE}" type="presOf" srcId="{F7D53487-311F-4B3C-8BEC-FDE6738299D4}" destId="{1BBC16FC-7259-48C1-B21F-15C33D9425CF}" srcOrd="0" destOrd="4" presId="urn:microsoft.com/office/officeart/2005/8/layout/vList2"/>
    <dgm:cxn modelId="{0CA730D8-4987-4686-BD9C-A0C736476D5E}" srcId="{9630A56B-CBF4-4399-A9F5-D503C99BA311}" destId="{829F1334-8ABB-4620-BFE5-07A1EDE65626}" srcOrd="2" destOrd="0" parTransId="{C857CFD1-5974-4717-826E-7FBE7CD7EDF5}" sibTransId="{45D88BA6-DB18-431E-A471-F86B300DA450}"/>
    <dgm:cxn modelId="{6FE789E8-B89B-4E4D-BBDB-3D96082B1ADF}" type="presOf" srcId="{829F1334-8ABB-4620-BFE5-07A1EDE65626}" destId="{1BBC16FC-7259-48C1-B21F-15C33D9425CF}" srcOrd="0" destOrd="3" presId="urn:microsoft.com/office/officeart/2005/8/layout/vList2"/>
    <dgm:cxn modelId="{D4CDCBEA-24CD-40B9-A29F-68F0ABDB3D95}" srcId="{A12C28C7-1174-4CA0-8296-6EBA25A29764}" destId="{52A4135E-EFA7-4BC6-B0D6-4EF444F3DA47}" srcOrd="2" destOrd="0" parTransId="{4BA03B3F-F8C7-4EE2-9B2B-FF9200ACC4F1}" sibTransId="{46D3D8A3-1E30-4CE3-A0AA-BDD237EF6DDE}"/>
    <dgm:cxn modelId="{9E6261EF-2AD9-4981-B917-61560655C69E}" type="presOf" srcId="{C96FE9F2-E70E-4708-958C-1C5EA08CC803}" destId="{1BBC16FC-7259-48C1-B21F-15C33D9425CF}" srcOrd="0" destOrd="1" presId="urn:microsoft.com/office/officeart/2005/8/layout/vList2"/>
    <dgm:cxn modelId="{3159A1F0-D6C9-409B-95BD-32FB25B9F490}" srcId="{A12C28C7-1174-4CA0-8296-6EBA25A29764}" destId="{F9096E2D-2C7E-4C2F-8555-F6BE3285FA50}" srcOrd="1" destOrd="0" parTransId="{75AF6A82-4EF7-4981-A238-1E34BBFACFD3}" sibTransId="{1CE51B2E-AAB3-46E5-BA54-0325A877E7DB}"/>
    <dgm:cxn modelId="{6C6475F8-6F04-4EAC-BA52-D7EFE5F7C1B7}" srcId="{E2D3127D-F817-4D93-85F6-8745070BC27A}" destId="{A12C28C7-1174-4CA0-8296-6EBA25A29764}" srcOrd="0" destOrd="0" parTransId="{6570C5A1-AFC5-499A-AD1D-7AA8805564FD}" sibTransId="{22AE461E-359B-4975-BD23-839B097DE4E2}"/>
    <dgm:cxn modelId="{BD2EA093-4CCF-46E3-803A-DE0188927037}" type="presParOf" srcId="{9C80B986-65A7-424C-B62F-21909F5C1E8B}" destId="{07E02D6F-4192-442E-B151-37D2A07020EC}" srcOrd="0" destOrd="0" presId="urn:microsoft.com/office/officeart/2005/8/layout/vList2"/>
    <dgm:cxn modelId="{66C6F480-C24A-4F29-A35A-7207B8814D47}" type="presParOf" srcId="{9C80B986-65A7-424C-B62F-21909F5C1E8B}" destId="{A2819BA5-2D35-484C-B0F0-42A574916988}" srcOrd="1" destOrd="0" presId="urn:microsoft.com/office/officeart/2005/8/layout/vList2"/>
    <dgm:cxn modelId="{2AB713CB-5C9E-4B04-A950-893EAE2BBFFA}" type="presParOf" srcId="{9C80B986-65A7-424C-B62F-21909F5C1E8B}" destId="{03378D47-CAA2-4EEA-9F00-431192EEE9DD}" srcOrd="2" destOrd="0" presId="urn:microsoft.com/office/officeart/2005/8/layout/vList2"/>
    <dgm:cxn modelId="{38A4B837-419F-482A-A203-53D955C90D40}" type="presParOf" srcId="{9C80B986-65A7-424C-B62F-21909F5C1E8B}" destId="{1BBC16FC-7259-48C1-B21F-15C33D9425CF}"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C70C5B-C07F-494A-8AB6-DE347B2DD857}">
      <dsp:nvSpPr>
        <dsp:cNvPr id="0" name=""/>
        <dsp:cNvSpPr/>
      </dsp:nvSpPr>
      <dsp:spPr>
        <a:xfrm>
          <a:off x="804" y="471623"/>
          <a:ext cx="2478727" cy="3914503"/>
        </a:xfrm>
        <a:prstGeom prst="rect">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800100">
            <a:lnSpc>
              <a:spcPct val="90000"/>
            </a:lnSpc>
            <a:spcBef>
              <a:spcPct val="0"/>
            </a:spcBef>
            <a:spcAft>
              <a:spcPct val="35000"/>
            </a:spcAft>
            <a:buNone/>
          </a:pPr>
          <a:r>
            <a:rPr lang="en-US" sz="1800" kern="1200"/>
            <a:t>ICE is a federal law enforcement agency</a:t>
          </a:r>
        </a:p>
      </dsp:txBody>
      <dsp:txXfrm>
        <a:off x="804" y="471623"/>
        <a:ext cx="2478727" cy="3914503"/>
      </dsp:txXfrm>
    </dsp:sp>
    <dsp:sp modelId="{C50C822B-C998-4BD9-93AF-781C0C535479}">
      <dsp:nvSpPr>
        <dsp:cNvPr id="0" name=""/>
        <dsp:cNvSpPr/>
      </dsp:nvSpPr>
      <dsp:spPr>
        <a:xfrm>
          <a:off x="2552384" y="2307375"/>
          <a:ext cx="366878" cy="243000"/>
        </a:xfrm>
        <a:prstGeom prst="rightArrow">
          <a:avLst>
            <a:gd name="adj1" fmla="val 50000"/>
            <a:gd name="adj2" fmla="val 50000"/>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C016C784-A17F-4AF3-9B53-605821B4F6E9}">
      <dsp:nvSpPr>
        <dsp:cNvPr id="0" name=""/>
        <dsp:cNvSpPr/>
      </dsp:nvSpPr>
      <dsp:spPr>
        <a:xfrm>
          <a:off x="2992115" y="512992"/>
          <a:ext cx="2445855" cy="3831765"/>
        </a:xfrm>
        <a:prstGeom prst="rect">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800100">
            <a:lnSpc>
              <a:spcPct val="90000"/>
            </a:lnSpc>
            <a:spcBef>
              <a:spcPct val="0"/>
            </a:spcBef>
            <a:spcAft>
              <a:spcPct val="35000"/>
            </a:spcAft>
            <a:buNone/>
          </a:pPr>
          <a:r>
            <a:rPr lang="en-US" sz="1800" kern="1200"/>
            <a:t>ICE’s authority is generally limited to immigration related enforcement, unless acting in concert with federal or state law enforcement, or investigating crimes through ICE criminal investigative units</a:t>
          </a:r>
        </a:p>
        <a:p>
          <a:pPr marL="0" lvl="0" indent="0" algn="ctr" defTabSz="800100">
            <a:lnSpc>
              <a:spcPct val="90000"/>
            </a:lnSpc>
            <a:spcBef>
              <a:spcPct val="0"/>
            </a:spcBef>
            <a:spcAft>
              <a:spcPct val="35000"/>
            </a:spcAft>
            <a:buNone/>
          </a:pPr>
          <a:endParaRPr lang="en-US" sz="1800" kern="1200"/>
        </a:p>
      </dsp:txBody>
      <dsp:txXfrm>
        <a:off x="2992115" y="512992"/>
        <a:ext cx="2445855" cy="383176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6977D-B617-45BD-9F42-6E90F95FD7A4}">
      <dsp:nvSpPr>
        <dsp:cNvPr id="0" name=""/>
        <dsp:cNvSpPr/>
      </dsp:nvSpPr>
      <dsp:spPr>
        <a:xfrm>
          <a:off x="0" y="66170"/>
          <a:ext cx="5806973" cy="941796"/>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baseline="0"/>
            <a:t>The Attorney General's office along with ORI’s support, funded and created the “Legal Representation Fund” or LRF</a:t>
          </a:r>
          <a:endParaRPr lang="en-US" sz="1700" kern="1200"/>
        </a:p>
      </dsp:txBody>
      <dsp:txXfrm>
        <a:off x="27584" y="93754"/>
        <a:ext cx="4790701" cy="886628"/>
      </dsp:txXfrm>
    </dsp:sp>
    <dsp:sp modelId="{6A02761E-0347-4B77-9741-525F625FB854}">
      <dsp:nvSpPr>
        <dsp:cNvPr id="0" name=""/>
        <dsp:cNvSpPr/>
      </dsp:nvSpPr>
      <dsp:spPr>
        <a:xfrm>
          <a:off x="512379" y="1098762"/>
          <a:ext cx="5806973" cy="941796"/>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baseline="0"/>
            <a:t>Boston Immigration Justice Accompaniment Network (BIJAN) &amp; the Beyond Bond and Legal Defense Fund (BBLDF) organizes the LFR.</a:t>
          </a:r>
          <a:endParaRPr lang="en-US" sz="1700" kern="1200"/>
        </a:p>
      </dsp:txBody>
      <dsp:txXfrm>
        <a:off x="539963" y="1126346"/>
        <a:ext cx="4627257" cy="886628"/>
      </dsp:txXfrm>
    </dsp:sp>
    <dsp:sp modelId="{72A8329C-B102-4A34-B4C3-2587BC7CF4E0}">
      <dsp:nvSpPr>
        <dsp:cNvPr id="0" name=""/>
        <dsp:cNvSpPr/>
      </dsp:nvSpPr>
      <dsp:spPr>
        <a:xfrm>
          <a:off x="1024759" y="2197524"/>
          <a:ext cx="5806973" cy="941796"/>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baseline="0"/>
            <a:t>Mission: to help fund free legal representation to detained immigrants who are eligible to request an immigration bond</a:t>
          </a:r>
          <a:endParaRPr lang="en-US" sz="1700" kern="1200"/>
        </a:p>
      </dsp:txBody>
      <dsp:txXfrm>
        <a:off x="1052343" y="2225108"/>
        <a:ext cx="4627257" cy="886628"/>
      </dsp:txXfrm>
    </dsp:sp>
    <dsp:sp modelId="{FE01E7C3-13E8-4503-B409-1113778BB434}">
      <dsp:nvSpPr>
        <dsp:cNvPr id="0" name=""/>
        <dsp:cNvSpPr/>
      </dsp:nvSpPr>
      <dsp:spPr>
        <a:xfrm>
          <a:off x="5194805" y="714195"/>
          <a:ext cx="612167" cy="612167"/>
        </a:xfrm>
        <a:prstGeom prst="downArrow">
          <a:avLst>
            <a:gd name="adj1" fmla="val 55000"/>
            <a:gd name="adj2" fmla="val 45000"/>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a:p>
      </dsp:txBody>
      <dsp:txXfrm>
        <a:off x="5332543" y="714195"/>
        <a:ext cx="336691" cy="460656"/>
      </dsp:txXfrm>
    </dsp:sp>
    <dsp:sp modelId="{C22D97D4-B049-47F9-AA5E-C26A8A543B37}">
      <dsp:nvSpPr>
        <dsp:cNvPr id="0" name=""/>
        <dsp:cNvSpPr/>
      </dsp:nvSpPr>
      <dsp:spPr>
        <a:xfrm>
          <a:off x="5707185" y="1806679"/>
          <a:ext cx="612167" cy="612167"/>
        </a:xfrm>
        <a:prstGeom prst="downArrow">
          <a:avLst>
            <a:gd name="adj1" fmla="val 55000"/>
            <a:gd name="adj2" fmla="val 45000"/>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a:p>
      </dsp:txBody>
      <dsp:txXfrm>
        <a:off x="5844923" y="1806679"/>
        <a:ext cx="336691" cy="46065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F4F8EC-0CB2-49D9-8906-40B3BA34C581}">
      <dsp:nvSpPr>
        <dsp:cNvPr id="0" name=""/>
        <dsp:cNvSpPr/>
      </dsp:nvSpPr>
      <dsp:spPr>
        <a:xfrm>
          <a:off x="51" y="48770"/>
          <a:ext cx="4913783" cy="103611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en-US" sz="3000" kern="1200"/>
            <a:t>Consider giving to relevant people:</a:t>
          </a:r>
        </a:p>
      </dsp:txBody>
      <dsp:txXfrm>
        <a:off x="51" y="48770"/>
        <a:ext cx="4913783" cy="1036111"/>
      </dsp:txXfrm>
    </dsp:sp>
    <dsp:sp modelId="{2A5F08BA-4D45-4FF0-9773-C6260D8579CE}">
      <dsp:nvSpPr>
        <dsp:cNvPr id="0" name=""/>
        <dsp:cNvSpPr/>
      </dsp:nvSpPr>
      <dsp:spPr>
        <a:xfrm>
          <a:off x="51" y="1084881"/>
          <a:ext cx="4913783" cy="3749498"/>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0020" tIns="160020" rIns="213360" bIns="240030" numCol="1" spcCol="1270" anchor="t" anchorCtr="0">
          <a:noAutofit/>
        </a:bodyPr>
        <a:lstStyle/>
        <a:p>
          <a:pPr marL="285750" lvl="1" indent="-285750" algn="l" defTabSz="1333500">
            <a:lnSpc>
              <a:spcPct val="90000"/>
            </a:lnSpc>
            <a:spcBef>
              <a:spcPct val="0"/>
            </a:spcBef>
            <a:spcAft>
              <a:spcPct val="15000"/>
            </a:spcAft>
            <a:buChar char="•"/>
          </a:pPr>
          <a:r>
            <a:rPr lang="en-US" sz="3000" kern="1200"/>
            <a:t>“Sharing” your location</a:t>
          </a:r>
        </a:p>
        <a:p>
          <a:pPr marL="285750" lvl="1" indent="-285750" algn="l" defTabSz="1333500" rtl="0">
            <a:lnSpc>
              <a:spcPct val="90000"/>
            </a:lnSpc>
            <a:spcBef>
              <a:spcPct val="0"/>
            </a:spcBef>
            <a:spcAft>
              <a:spcPct val="15000"/>
            </a:spcAft>
            <a:buChar char="•"/>
          </a:pPr>
          <a:r>
            <a:rPr lang="en-US" sz="3000" kern="1200"/>
            <a:t>Name </a:t>
          </a:r>
          <a:r>
            <a:rPr lang="en-US" sz="3000" kern="1200">
              <a:latin typeface="Aptos Display" panose="02110004020202020204"/>
            </a:rPr>
            <a:t>&amp; cell of</a:t>
          </a:r>
          <a:r>
            <a:rPr lang="en-US" sz="3000" kern="1200"/>
            <a:t> </a:t>
          </a:r>
          <a:r>
            <a:rPr lang="en-US" sz="3000" kern="1200">
              <a:latin typeface="Aptos Display" panose="02110004020202020204"/>
            </a:rPr>
            <a:t>your</a:t>
          </a:r>
          <a:r>
            <a:rPr lang="en-US" sz="3000" kern="1200"/>
            <a:t> lawyer, close family members and G28</a:t>
          </a:r>
        </a:p>
        <a:p>
          <a:pPr marL="285750" lvl="1" indent="-285750" algn="l" defTabSz="1333500" rtl="0">
            <a:lnSpc>
              <a:spcPct val="90000"/>
            </a:lnSpc>
            <a:spcBef>
              <a:spcPct val="0"/>
            </a:spcBef>
            <a:spcAft>
              <a:spcPct val="15000"/>
            </a:spcAft>
            <a:buChar char="•"/>
          </a:pPr>
          <a:r>
            <a:rPr lang="en-US" sz="3000" kern="1200"/>
            <a:t>Permission to Represent</a:t>
          </a:r>
        </a:p>
      </dsp:txBody>
      <dsp:txXfrm>
        <a:off x="51" y="1084881"/>
        <a:ext cx="4913783" cy="3749498"/>
      </dsp:txXfrm>
    </dsp:sp>
    <dsp:sp modelId="{7F7AE96F-9D2F-4EB0-BAE5-B95D4C786020}">
      <dsp:nvSpPr>
        <dsp:cNvPr id="0" name=""/>
        <dsp:cNvSpPr/>
      </dsp:nvSpPr>
      <dsp:spPr>
        <a:xfrm>
          <a:off x="5601764" y="48770"/>
          <a:ext cx="4913783" cy="1036111"/>
        </a:xfrm>
        <a:prstGeom prst="rect">
          <a:avLst/>
        </a:prstGeom>
        <a:solidFill>
          <a:schemeClr val="accent2">
            <a:hueOff val="-5854806"/>
            <a:satOff val="51666"/>
            <a:lumOff val="16470"/>
            <a:alphaOff val="0"/>
          </a:schemeClr>
        </a:solidFill>
        <a:ln w="10795" cap="flat" cmpd="sng" algn="ctr">
          <a:solidFill>
            <a:schemeClr val="accent2">
              <a:hueOff val="-5854806"/>
              <a:satOff val="51666"/>
              <a:lumOff val="1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en-US" sz="3000" kern="1200"/>
            <a:t>Airport Pickup (if you must travel)</a:t>
          </a:r>
        </a:p>
      </dsp:txBody>
      <dsp:txXfrm>
        <a:off x="5601764" y="48770"/>
        <a:ext cx="4913783" cy="1036111"/>
      </dsp:txXfrm>
    </dsp:sp>
    <dsp:sp modelId="{B710DE2E-F9EB-4EEB-9E9D-0087E042F1D7}">
      <dsp:nvSpPr>
        <dsp:cNvPr id="0" name=""/>
        <dsp:cNvSpPr/>
      </dsp:nvSpPr>
      <dsp:spPr>
        <a:xfrm>
          <a:off x="5601764" y="1084881"/>
          <a:ext cx="4913783" cy="3749498"/>
        </a:xfrm>
        <a:prstGeom prst="rect">
          <a:avLst/>
        </a:prstGeom>
        <a:solidFill>
          <a:schemeClr val="accent2">
            <a:tint val="40000"/>
            <a:alpha val="90000"/>
            <a:hueOff val="-5976127"/>
            <a:satOff val="74127"/>
            <a:lumOff val="6421"/>
            <a:alphaOff val="0"/>
          </a:schemeClr>
        </a:solidFill>
        <a:ln w="10795" cap="flat" cmpd="sng" algn="ctr">
          <a:solidFill>
            <a:schemeClr val="accent2">
              <a:tint val="40000"/>
              <a:alpha val="90000"/>
              <a:hueOff val="-5976127"/>
              <a:satOff val="74127"/>
              <a:lumOff val="6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0020" tIns="160020" rIns="213360" bIns="240030" numCol="1" spcCol="1270" anchor="t" anchorCtr="0">
          <a:noAutofit/>
        </a:bodyPr>
        <a:lstStyle/>
        <a:p>
          <a:pPr marL="285750" lvl="1" indent="-285750" algn="l" defTabSz="1333500">
            <a:lnSpc>
              <a:spcPct val="90000"/>
            </a:lnSpc>
            <a:spcBef>
              <a:spcPct val="0"/>
            </a:spcBef>
            <a:spcAft>
              <a:spcPct val="15000"/>
            </a:spcAft>
            <a:buChar char="•"/>
          </a:pPr>
          <a:r>
            <a:rPr lang="en-US" sz="3000" kern="1200"/>
            <a:t>Have LPR or US citizen pick you up @ airport</a:t>
          </a:r>
        </a:p>
        <a:p>
          <a:pPr marL="285750" lvl="1" indent="-285750" algn="l" defTabSz="1333500">
            <a:lnSpc>
              <a:spcPct val="90000"/>
            </a:lnSpc>
            <a:spcBef>
              <a:spcPct val="0"/>
            </a:spcBef>
            <a:spcAft>
              <a:spcPct val="15000"/>
            </a:spcAft>
            <a:buChar char="•"/>
          </a:pPr>
          <a:r>
            <a:rPr lang="en-US" sz="3000" kern="1200"/>
            <a:t>Text when you land, make sure lawyer is on call</a:t>
          </a:r>
        </a:p>
        <a:p>
          <a:pPr marL="285750" lvl="1" indent="-285750" algn="l" defTabSz="1333500">
            <a:lnSpc>
              <a:spcPct val="90000"/>
            </a:lnSpc>
            <a:spcBef>
              <a:spcPct val="0"/>
            </a:spcBef>
            <a:spcAft>
              <a:spcPct val="15000"/>
            </a:spcAft>
            <a:buChar char="•"/>
          </a:pPr>
          <a:r>
            <a:rPr lang="en-US" sz="3000" kern="1200"/>
            <a:t>Have copies of your G28 and make sure family does</a:t>
          </a:r>
        </a:p>
      </dsp:txBody>
      <dsp:txXfrm>
        <a:off x="5601764" y="1084881"/>
        <a:ext cx="4913783" cy="374949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B9472C-420F-4D2B-A980-69113783ABD5}">
      <dsp:nvSpPr>
        <dsp:cNvPr id="0" name=""/>
        <dsp:cNvSpPr/>
      </dsp:nvSpPr>
      <dsp:spPr>
        <a:xfrm>
          <a:off x="0" y="296549"/>
          <a:ext cx="11082528" cy="31752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0127" tIns="374904" rIns="860127" bIns="128016" numCol="1" spcCol="1270" anchor="t" anchorCtr="0">
          <a:noAutofit/>
        </a:bodyPr>
        <a:lstStyle/>
        <a:p>
          <a:pPr marL="171450" lvl="1" indent="-171450" algn="l" defTabSz="800100">
            <a:lnSpc>
              <a:spcPct val="90000"/>
            </a:lnSpc>
            <a:spcBef>
              <a:spcPct val="0"/>
            </a:spcBef>
            <a:spcAft>
              <a:spcPct val="15000"/>
            </a:spcAft>
            <a:buChar char="•"/>
          </a:pPr>
          <a:r>
            <a:rPr lang="en-US" sz="1800" b="0" i="0" kern="1200" baseline="0"/>
            <a:t>Massachusetts Legal Resource Finder:</a:t>
          </a:r>
          <a:endParaRPr lang="en-US" sz="1800" kern="1200"/>
        </a:p>
        <a:p>
          <a:pPr marL="342900" lvl="2" indent="-171450" algn="l" defTabSz="800100">
            <a:lnSpc>
              <a:spcPct val="90000"/>
            </a:lnSpc>
            <a:spcBef>
              <a:spcPct val="0"/>
            </a:spcBef>
            <a:spcAft>
              <a:spcPct val="15000"/>
            </a:spcAft>
            <a:buChar char="•"/>
          </a:pPr>
          <a:r>
            <a:rPr lang="en-US" sz="1800" b="0" i="0" kern="1200" baseline="0"/>
            <a:t> </a:t>
          </a:r>
          <a:r>
            <a:rPr lang="en-US" sz="1800" b="0" i="0" u="sng" kern="1200" baseline="0">
              <a:hlinkClick xmlns:r="http://schemas.openxmlformats.org/officeDocument/2006/relationships" r:id="rId1"/>
            </a:rPr>
            <a:t>https://masslrf.org/en/home</a:t>
          </a:r>
          <a:r>
            <a:rPr lang="en-US" sz="1800" b="0" i="0" u="sng" kern="1200" baseline="0"/>
            <a:t> </a:t>
          </a:r>
          <a:r>
            <a:rPr lang="en-US" sz="1800" b="0" i="0" kern="1200" baseline="0"/>
            <a:t> </a:t>
          </a:r>
          <a:endParaRPr lang="en-US" sz="1800" kern="1200"/>
        </a:p>
        <a:p>
          <a:pPr marL="171450" lvl="1" indent="-171450" algn="l" defTabSz="800100">
            <a:lnSpc>
              <a:spcPct val="90000"/>
            </a:lnSpc>
            <a:spcBef>
              <a:spcPct val="0"/>
            </a:spcBef>
            <a:spcAft>
              <a:spcPct val="15000"/>
            </a:spcAft>
            <a:buChar char="•"/>
          </a:pPr>
          <a:r>
            <a:rPr lang="en-US" sz="1800" b="0" i="0" kern="1200" baseline="0"/>
            <a:t>List of Immigration Groups:</a:t>
          </a:r>
          <a:endParaRPr lang="en-US" sz="1800" kern="1200"/>
        </a:p>
        <a:p>
          <a:pPr marL="342900" lvl="2" indent="-171450" algn="l" defTabSz="800100">
            <a:lnSpc>
              <a:spcPct val="90000"/>
            </a:lnSpc>
            <a:spcBef>
              <a:spcPct val="0"/>
            </a:spcBef>
            <a:spcAft>
              <a:spcPct val="15000"/>
            </a:spcAft>
            <a:buChar char="•"/>
          </a:pPr>
          <a:r>
            <a:rPr lang="en-US" sz="1800" kern="1200">
              <a:hlinkClick xmlns:r="http://schemas.openxmlformats.org/officeDocument/2006/relationships" r:id="rId2"/>
            </a:rPr>
            <a:t>https://www.mass.gov/info-details/immigration-legal-support#free-immigration-legal-clinics</a:t>
          </a:r>
          <a:endParaRPr lang="en-US" sz="1800" kern="1200"/>
        </a:p>
        <a:p>
          <a:pPr marL="171450" lvl="1" indent="-171450" algn="l" defTabSz="800100">
            <a:lnSpc>
              <a:spcPct val="90000"/>
            </a:lnSpc>
            <a:spcBef>
              <a:spcPct val="0"/>
            </a:spcBef>
            <a:spcAft>
              <a:spcPct val="15000"/>
            </a:spcAft>
            <a:buChar char="•"/>
          </a:pPr>
          <a:r>
            <a:rPr lang="en-US" sz="1800" b="0" i="0" kern="1200" baseline="0"/>
            <a:t>City of Boston free consultations:</a:t>
          </a:r>
          <a:endParaRPr lang="en-US" sz="1800" kern="1200"/>
        </a:p>
        <a:p>
          <a:pPr marL="342900" lvl="2" indent="-171450" algn="l" defTabSz="800100">
            <a:lnSpc>
              <a:spcPct val="90000"/>
            </a:lnSpc>
            <a:spcBef>
              <a:spcPct val="0"/>
            </a:spcBef>
            <a:spcAft>
              <a:spcPct val="15000"/>
            </a:spcAft>
            <a:buChar char="•"/>
          </a:pPr>
          <a:r>
            <a:rPr lang="en-US" sz="1800" b="0" i="0" kern="1200">
              <a:hlinkClick xmlns:r="http://schemas.openxmlformats.org/officeDocument/2006/relationships" r:id="rId3" tooltip="https://www.boston.gov/departments/immigrant-advancement/free-immigration-consultations"/>
            </a:rPr>
            <a:t>https://www.boston.gov/departments/immigrant-advancement/free-immigration-consultations</a:t>
          </a:r>
          <a:r>
            <a:rPr lang="en-US" sz="1800" b="0" i="0" kern="1200"/>
            <a:t>.</a:t>
          </a:r>
          <a:endParaRPr lang="en-US" sz="1800" kern="1200"/>
        </a:p>
        <a:p>
          <a:pPr marL="171450" lvl="1" indent="-171450" algn="l" defTabSz="800100">
            <a:lnSpc>
              <a:spcPct val="90000"/>
            </a:lnSpc>
            <a:spcBef>
              <a:spcPct val="0"/>
            </a:spcBef>
            <a:spcAft>
              <a:spcPct val="15000"/>
            </a:spcAft>
            <a:buChar char="•"/>
          </a:pPr>
          <a:r>
            <a:rPr lang="en-US" sz="1800" kern="1200"/>
            <a:t>MIRA immigration helpline:	</a:t>
          </a:r>
        </a:p>
        <a:p>
          <a:pPr marL="342900" lvl="2" indent="-171450" algn="l" defTabSz="800100">
            <a:lnSpc>
              <a:spcPct val="90000"/>
            </a:lnSpc>
            <a:spcBef>
              <a:spcPct val="0"/>
            </a:spcBef>
            <a:spcAft>
              <a:spcPct val="15000"/>
            </a:spcAft>
            <a:buChar char="•"/>
          </a:pPr>
          <a:r>
            <a:rPr lang="en-US" sz="1800" kern="1200">
              <a:hlinkClick xmlns:r="http://schemas.openxmlformats.org/officeDocument/2006/relationships" r:id="rId4"/>
            </a:rPr>
            <a:t>https://miracoalition.org/news/immigration-helpline/</a:t>
          </a:r>
          <a:endParaRPr lang="en-US" sz="1800" kern="1200"/>
        </a:p>
      </dsp:txBody>
      <dsp:txXfrm>
        <a:off x="0" y="296549"/>
        <a:ext cx="11082528" cy="3175200"/>
      </dsp:txXfrm>
    </dsp:sp>
    <dsp:sp modelId="{85788615-EA7E-4075-BFD0-11A49CFAF1C0}">
      <dsp:nvSpPr>
        <dsp:cNvPr id="0" name=""/>
        <dsp:cNvSpPr/>
      </dsp:nvSpPr>
      <dsp:spPr>
        <a:xfrm>
          <a:off x="554126" y="30869"/>
          <a:ext cx="7757769" cy="5313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3225" tIns="0" rIns="293225" bIns="0" numCol="1" spcCol="1270" anchor="ctr" anchorCtr="0">
          <a:noAutofit/>
        </a:bodyPr>
        <a:lstStyle/>
        <a:p>
          <a:pPr marL="0" lvl="0" indent="0" algn="l" defTabSz="800100">
            <a:lnSpc>
              <a:spcPct val="90000"/>
            </a:lnSpc>
            <a:spcBef>
              <a:spcPct val="0"/>
            </a:spcBef>
            <a:spcAft>
              <a:spcPct val="35000"/>
            </a:spcAft>
            <a:buNone/>
          </a:pPr>
          <a:r>
            <a:rPr lang="en-US" sz="1800" b="0" i="0" kern="1200" baseline="0"/>
            <a:t>Legal Services Directory in Massachusetts:</a:t>
          </a:r>
          <a:endParaRPr lang="en-US" sz="1800" kern="1200"/>
        </a:p>
      </dsp:txBody>
      <dsp:txXfrm>
        <a:off x="580065" y="56808"/>
        <a:ext cx="7705891" cy="479482"/>
      </dsp:txXfrm>
    </dsp:sp>
    <dsp:sp modelId="{3F11C419-1C04-4A3E-AF33-3215D40C8532}">
      <dsp:nvSpPr>
        <dsp:cNvPr id="0" name=""/>
        <dsp:cNvSpPr/>
      </dsp:nvSpPr>
      <dsp:spPr>
        <a:xfrm>
          <a:off x="0" y="3834630"/>
          <a:ext cx="11082528" cy="99225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0127" tIns="374904" rIns="860127" bIns="128016" numCol="1" spcCol="1270" anchor="t" anchorCtr="0">
          <a:noAutofit/>
        </a:bodyPr>
        <a:lstStyle/>
        <a:p>
          <a:pPr marL="171450" lvl="1" indent="-171450" algn="l" defTabSz="800100">
            <a:lnSpc>
              <a:spcPct val="90000"/>
            </a:lnSpc>
            <a:spcBef>
              <a:spcPct val="0"/>
            </a:spcBef>
            <a:spcAft>
              <a:spcPct val="15000"/>
            </a:spcAft>
            <a:buChar char="•"/>
          </a:pPr>
          <a:r>
            <a:rPr lang="en-US" sz="1800" b="0" i="0" kern="1200" baseline="0"/>
            <a:t>Immigration Advocates Network Legal Directory: </a:t>
          </a:r>
          <a:r>
            <a:rPr lang="en-US" sz="1800" b="0" i="0" u="sng" kern="1200" baseline="0">
              <a:hlinkClick xmlns:r="http://schemas.openxmlformats.org/officeDocument/2006/relationships" r:id="rId5"/>
            </a:rPr>
            <a:t>https://www.immigrationadvocates.org/legaldirectory/</a:t>
          </a:r>
          <a:r>
            <a:rPr lang="en-US" sz="1800" b="0" i="0" kern="1200" baseline="0"/>
            <a:t>  </a:t>
          </a:r>
          <a:endParaRPr lang="en-US" sz="1800" kern="1200"/>
        </a:p>
      </dsp:txBody>
      <dsp:txXfrm>
        <a:off x="0" y="3834630"/>
        <a:ext cx="11082528" cy="992250"/>
      </dsp:txXfrm>
    </dsp:sp>
    <dsp:sp modelId="{E5F66603-6492-49A3-B271-ED533C941B0E}">
      <dsp:nvSpPr>
        <dsp:cNvPr id="0" name=""/>
        <dsp:cNvSpPr/>
      </dsp:nvSpPr>
      <dsp:spPr>
        <a:xfrm>
          <a:off x="554126" y="3568950"/>
          <a:ext cx="7757769" cy="5313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3225" tIns="0" rIns="293225" bIns="0" numCol="1" spcCol="1270" anchor="ctr" anchorCtr="0">
          <a:noAutofit/>
        </a:bodyPr>
        <a:lstStyle/>
        <a:p>
          <a:pPr marL="0" lvl="0" indent="0" algn="l" defTabSz="800100">
            <a:lnSpc>
              <a:spcPct val="90000"/>
            </a:lnSpc>
            <a:spcBef>
              <a:spcPct val="0"/>
            </a:spcBef>
            <a:spcAft>
              <a:spcPct val="35000"/>
            </a:spcAft>
            <a:buNone/>
          </a:pPr>
          <a:r>
            <a:rPr lang="en-US" sz="1800" b="0" i="0" kern="1200" baseline="0"/>
            <a:t>Legal Services Directory Outside of Massachusetts:</a:t>
          </a:r>
          <a:endParaRPr lang="en-US" sz="1800" kern="1200"/>
        </a:p>
      </dsp:txBody>
      <dsp:txXfrm>
        <a:off x="580065" y="3594889"/>
        <a:ext cx="7705891" cy="4794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D6E35A-DD82-4B45-81A9-80ACE1A02143}">
      <dsp:nvSpPr>
        <dsp:cNvPr id="0" name=""/>
        <dsp:cNvSpPr/>
      </dsp:nvSpPr>
      <dsp:spPr>
        <a:xfrm>
          <a:off x="51" y="157628"/>
          <a:ext cx="4913783" cy="6048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b="1" i="1" kern="1200"/>
            <a:t>ICE can demand identification:</a:t>
          </a:r>
          <a:endParaRPr lang="en-US" sz="2100" kern="1200"/>
        </a:p>
      </dsp:txBody>
      <dsp:txXfrm>
        <a:off x="51" y="157628"/>
        <a:ext cx="4913783" cy="604800"/>
      </dsp:txXfrm>
    </dsp:sp>
    <dsp:sp modelId="{80D9EE47-E1BA-4623-99E0-21A122EB8B19}">
      <dsp:nvSpPr>
        <dsp:cNvPr id="0" name=""/>
        <dsp:cNvSpPr/>
      </dsp:nvSpPr>
      <dsp:spPr>
        <a:xfrm>
          <a:off x="51" y="762428"/>
          <a:ext cx="4913783" cy="396309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Immigrants often must carry identification on them, including copies of a green card and/or proof of registration.</a:t>
          </a:r>
        </a:p>
        <a:p>
          <a:pPr marL="228600" lvl="1" indent="-228600" algn="l" defTabSz="933450">
            <a:lnSpc>
              <a:spcPct val="90000"/>
            </a:lnSpc>
            <a:spcBef>
              <a:spcPct val="0"/>
            </a:spcBef>
            <a:spcAft>
              <a:spcPct val="15000"/>
            </a:spcAft>
            <a:buChar char="•"/>
          </a:pPr>
          <a:endParaRPr lang="en-US" sz="2100" kern="1200"/>
        </a:p>
        <a:p>
          <a:pPr marL="228600" lvl="1" indent="-228600" algn="l" defTabSz="933450">
            <a:lnSpc>
              <a:spcPct val="90000"/>
            </a:lnSpc>
            <a:spcBef>
              <a:spcPct val="0"/>
            </a:spcBef>
            <a:spcAft>
              <a:spcPct val="15000"/>
            </a:spcAft>
            <a:buChar char="•"/>
          </a:pPr>
          <a:r>
            <a:rPr lang="en-US" sz="2100" kern="1200"/>
            <a:t>Depending on the facts and circumstances, ICE officers, when they have probable cause to believe a person is here unlawfully, can ask for identification. </a:t>
          </a:r>
        </a:p>
      </dsp:txBody>
      <dsp:txXfrm>
        <a:off x="51" y="762428"/>
        <a:ext cx="4913783" cy="3963093"/>
      </dsp:txXfrm>
    </dsp:sp>
    <dsp:sp modelId="{59019A88-07A4-43D8-88C4-9BF209DC27E5}">
      <dsp:nvSpPr>
        <dsp:cNvPr id="0" name=""/>
        <dsp:cNvSpPr/>
      </dsp:nvSpPr>
      <dsp:spPr>
        <a:xfrm>
          <a:off x="5601764" y="157628"/>
          <a:ext cx="4913783" cy="6048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b="1" i="1" kern="1200"/>
            <a:t>ICE can interrogate:</a:t>
          </a:r>
          <a:endParaRPr lang="en-US" sz="2100" kern="1200"/>
        </a:p>
      </dsp:txBody>
      <dsp:txXfrm>
        <a:off x="5601764" y="157628"/>
        <a:ext cx="4913783" cy="604800"/>
      </dsp:txXfrm>
    </dsp:sp>
    <dsp:sp modelId="{855F6275-9653-4E64-953F-F03D94C52F30}">
      <dsp:nvSpPr>
        <dsp:cNvPr id="0" name=""/>
        <dsp:cNvSpPr/>
      </dsp:nvSpPr>
      <dsp:spPr>
        <a:xfrm>
          <a:off x="5601764" y="762428"/>
          <a:ext cx="4913783" cy="396309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ICE officers may interrogate a noncitizen or person believed to be a noncitizen as to their “right to be, or to remain in the United States” without a warrant. (</a:t>
          </a:r>
          <a:r>
            <a:rPr lang="en-US" sz="2100" i="1" kern="1200"/>
            <a:t>NOTE: individuals have a right to remain silent and to a lawyer even if undocumented</a:t>
          </a:r>
          <a:r>
            <a:rPr lang="en-US" sz="2100" kern="1200"/>
            <a:t>).</a:t>
          </a:r>
        </a:p>
        <a:p>
          <a:pPr marL="228600" lvl="1" indent="-228600" algn="l" defTabSz="933450">
            <a:lnSpc>
              <a:spcPct val="90000"/>
            </a:lnSpc>
            <a:spcBef>
              <a:spcPct val="0"/>
            </a:spcBef>
            <a:spcAft>
              <a:spcPct val="15000"/>
            </a:spcAft>
            <a:buChar char="•"/>
          </a:pPr>
          <a:endParaRPr lang="en-US" sz="2100" kern="1200"/>
        </a:p>
        <a:p>
          <a:pPr marL="228600" lvl="1" indent="-228600" algn="l" defTabSz="933450">
            <a:lnSpc>
              <a:spcPct val="90000"/>
            </a:lnSpc>
            <a:spcBef>
              <a:spcPct val="0"/>
            </a:spcBef>
            <a:spcAft>
              <a:spcPct val="15000"/>
            </a:spcAft>
            <a:buChar char="•"/>
          </a:pPr>
          <a:r>
            <a:rPr lang="en-US" sz="2100" kern="1200"/>
            <a:t>ICE cannot approach any individual based on race or nationality alone.  However, ICE can approach a person based on factors unknown to the interrogated person.  </a:t>
          </a:r>
        </a:p>
      </dsp:txBody>
      <dsp:txXfrm>
        <a:off x="5601764" y="762428"/>
        <a:ext cx="4913783" cy="396309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B85BDE-9536-4DFF-99D0-616C62EEEA2F}">
      <dsp:nvSpPr>
        <dsp:cNvPr id="0" name=""/>
        <dsp:cNvSpPr/>
      </dsp:nvSpPr>
      <dsp:spPr>
        <a:xfrm>
          <a:off x="0" y="176822"/>
          <a:ext cx="3286125" cy="4600574"/>
        </a:xfrm>
        <a:prstGeom prst="rect">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6199" tIns="330200" rIns="256199" bIns="330200" numCol="1" spcCol="1270" anchor="t" anchorCtr="0">
          <a:noAutofit/>
        </a:bodyPr>
        <a:lstStyle/>
        <a:p>
          <a:pPr marL="0" lvl="0" indent="0" algn="l" defTabSz="977900">
            <a:lnSpc>
              <a:spcPct val="90000"/>
            </a:lnSpc>
            <a:spcBef>
              <a:spcPct val="0"/>
            </a:spcBef>
            <a:spcAft>
              <a:spcPct val="35000"/>
            </a:spcAft>
            <a:buNone/>
          </a:pPr>
          <a:r>
            <a:rPr lang="en-US" sz="2200" kern="1200"/>
            <a:t>ICE need only have reasonable suspicion to stop a car where they believe the driver or the passenger is a person present unlawfully</a:t>
          </a:r>
        </a:p>
      </dsp:txBody>
      <dsp:txXfrm>
        <a:off x="0" y="1925040"/>
        <a:ext cx="3286125" cy="2760345"/>
      </dsp:txXfrm>
    </dsp:sp>
    <dsp:sp modelId="{32B3C8D3-1DDD-4F90-AF1D-D04D3D0BC573}">
      <dsp:nvSpPr>
        <dsp:cNvPr id="0" name=""/>
        <dsp:cNvSpPr/>
      </dsp:nvSpPr>
      <dsp:spPr>
        <a:xfrm>
          <a:off x="952976" y="636879"/>
          <a:ext cx="1380172" cy="1380172"/>
        </a:xfrm>
        <a:prstGeom prst="ellipse">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604" tIns="12700" rIns="107604" bIns="12700" numCol="1" spcCol="1270" anchor="ctr" anchorCtr="0">
          <a:noAutofit/>
        </a:bodyPr>
        <a:lstStyle/>
        <a:p>
          <a:pPr marL="0" lvl="0" indent="0" algn="ctr" defTabSz="2133600">
            <a:lnSpc>
              <a:spcPct val="90000"/>
            </a:lnSpc>
            <a:spcBef>
              <a:spcPct val="0"/>
            </a:spcBef>
            <a:spcAft>
              <a:spcPct val="35000"/>
            </a:spcAft>
            <a:buNone/>
          </a:pPr>
          <a:r>
            <a:rPr lang="en-US" sz="4800" kern="1200"/>
            <a:t>1</a:t>
          </a:r>
        </a:p>
      </dsp:txBody>
      <dsp:txXfrm>
        <a:off x="1155098" y="839001"/>
        <a:ext cx="975928" cy="975928"/>
      </dsp:txXfrm>
    </dsp:sp>
    <dsp:sp modelId="{DDC8E480-E958-43F9-AF52-EB3F896C8687}">
      <dsp:nvSpPr>
        <dsp:cNvPr id="0" name=""/>
        <dsp:cNvSpPr/>
      </dsp:nvSpPr>
      <dsp:spPr>
        <a:xfrm>
          <a:off x="0" y="4777325"/>
          <a:ext cx="3286125" cy="72"/>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B1EBEE-BFC3-4FD2-B282-C3E61B90962E}">
      <dsp:nvSpPr>
        <dsp:cNvPr id="0" name=""/>
        <dsp:cNvSpPr/>
      </dsp:nvSpPr>
      <dsp:spPr>
        <a:xfrm>
          <a:off x="3614737" y="176822"/>
          <a:ext cx="3286125" cy="4600574"/>
        </a:xfrm>
        <a:prstGeom prst="rect">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6199" tIns="330200" rIns="256199" bIns="330200" numCol="1" spcCol="1270" anchor="t" anchorCtr="0">
          <a:noAutofit/>
        </a:bodyPr>
        <a:lstStyle/>
        <a:p>
          <a:pPr marL="0" lvl="0" indent="0" algn="l" defTabSz="977900">
            <a:lnSpc>
              <a:spcPct val="90000"/>
            </a:lnSpc>
            <a:spcBef>
              <a:spcPct val="0"/>
            </a:spcBef>
            <a:spcAft>
              <a:spcPct val="35000"/>
            </a:spcAft>
            <a:buNone/>
          </a:pPr>
          <a:r>
            <a:rPr lang="en-US" sz="2200" kern="1200"/>
            <a:t>ICE must have a judicial warrant to enter a home</a:t>
          </a:r>
        </a:p>
      </dsp:txBody>
      <dsp:txXfrm>
        <a:off x="3614737" y="1925040"/>
        <a:ext cx="3286125" cy="2760345"/>
      </dsp:txXfrm>
    </dsp:sp>
    <dsp:sp modelId="{52044489-B2A6-4DD7-9B68-4D5A54C564BB}">
      <dsp:nvSpPr>
        <dsp:cNvPr id="0" name=""/>
        <dsp:cNvSpPr/>
      </dsp:nvSpPr>
      <dsp:spPr>
        <a:xfrm>
          <a:off x="4567713" y="636879"/>
          <a:ext cx="1380172" cy="1380172"/>
        </a:xfrm>
        <a:prstGeom prst="ellipse">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604" tIns="12700" rIns="107604" bIns="12700" numCol="1" spcCol="1270" anchor="ctr" anchorCtr="0">
          <a:noAutofit/>
        </a:bodyPr>
        <a:lstStyle/>
        <a:p>
          <a:pPr marL="0" lvl="0" indent="0" algn="ctr" defTabSz="2133600">
            <a:lnSpc>
              <a:spcPct val="90000"/>
            </a:lnSpc>
            <a:spcBef>
              <a:spcPct val="0"/>
            </a:spcBef>
            <a:spcAft>
              <a:spcPct val="35000"/>
            </a:spcAft>
            <a:buNone/>
          </a:pPr>
          <a:r>
            <a:rPr lang="en-US" sz="4800" kern="1200"/>
            <a:t>2</a:t>
          </a:r>
        </a:p>
      </dsp:txBody>
      <dsp:txXfrm>
        <a:off x="4769835" y="839001"/>
        <a:ext cx="975928" cy="975928"/>
      </dsp:txXfrm>
    </dsp:sp>
    <dsp:sp modelId="{914BFE6C-CAD5-4835-A6AC-0F4D4B283BC4}">
      <dsp:nvSpPr>
        <dsp:cNvPr id="0" name=""/>
        <dsp:cNvSpPr/>
      </dsp:nvSpPr>
      <dsp:spPr>
        <a:xfrm>
          <a:off x="3614737" y="4777325"/>
          <a:ext cx="3286125" cy="72"/>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F6E413-6979-48E7-84A5-9B88A17A0736}">
      <dsp:nvSpPr>
        <dsp:cNvPr id="0" name=""/>
        <dsp:cNvSpPr/>
      </dsp:nvSpPr>
      <dsp:spPr>
        <a:xfrm>
          <a:off x="7229475" y="176822"/>
          <a:ext cx="3286125" cy="4600574"/>
        </a:xfrm>
        <a:prstGeom prst="rect">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6199" tIns="330200" rIns="256199" bIns="330200" numCol="1" spcCol="1270" anchor="t" anchorCtr="0">
          <a:noAutofit/>
        </a:bodyPr>
        <a:lstStyle/>
        <a:p>
          <a:pPr marL="0" lvl="0" indent="0" algn="l" defTabSz="977900">
            <a:lnSpc>
              <a:spcPct val="90000"/>
            </a:lnSpc>
            <a:spcBef>
              <a:spcPct val="0"/>
            </a:spcBef>
            <a:spcAft>
              <a:spcPct val="35000"/>
            </a:spcAft>
            <a:buNone/>
          </a:pPr>
          <a:r>
            <a:rPr lang="en-US" sz="2200" kern="1200"/>
            <a:t>ICE must have an administrative warrant to arrest someone on the streets if they do not have evidence to believe the person is a flight risk</a:t>
          </a:r>
        </a:p>
      </dsp:txBody>
      <dsp:txXfrm>
        <a:off x="7229475" y="1925040"/>
        <a:ext cx="3286125" cy="2760345"/>
      </dsp:txXfrm>
    </dsp:sp>
    <dsp:sp modelId="{48C967B5-6197-4996-B4F8-63D0D19234EF}">
      <dsp:nvSpPr>
        <dsp:cNvPr id="0" name=""/>
        <dsp:cNvSpPr/>
      </dsp:nvSpPr>
      <dsp:spPr>
        <a:xfrm>
          <a:off x="8182451" y="636879"/>
          <a:ext cx="1380172" cy="1380172"/>
        </a:xfrm>
        <a:prstGeom prst="ellipse">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604" tIns="12700" rIns="107604" bIns="12700" numCol="1" spcCol="1270" anchor="ctr" anchorCtr="0">
          <a:noAutofit/>
        </a:bodyPr>
        <a:lstStyle/>
        <a:p>
          <a:pPr marL="0" lvl="0" indent="0" algn="ctr" defTabSz="2133600">
            <a:lnSpc>
              <a:spcPct val="90000"/>
            </a:lnSpc>
            <a:spcBef>
              <a:spcPct val="0"/>
            </a:spcBef>
            <a:spcAft>
              <a:spcPct val="35000"/>
            </a:spcAft>
            <a:buNone/>
          </a:pPr>
          <a:r>
            <a:rPr lang="en-US" sz="4800" kern="1200"/>
            <a:t>3</a:t>
          </a:r>
        </a:p>
      </dsp:txBody>
      <dsp:txXfrm>
        <a:off x="8384573" y="839001"/>
        <a:ext cx="975928" cy="975928"/>
      </dsp:txXfrm>
    </dsp:sp>
    <dsp:sp modelId="{E5C38CF9-CE20-4A90-89F7-6EDF65FB5E4F}">
      <dsp:nvSpPr>
        <dsp:cNvPr id="0" name=""/>
        <dsp:cNvSpPr/>
      </dsp:nvSpPr>
      <dsp:spPr>
        <a:xfrm>
          <a:off x="7229475" y="4777325"/>
          <a:ext cx="3286125" cy="72"/>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151660-FA35-421D-A646-F5E12EF66E81}">
      <dsp:nvSpPr>
        <dsp:cNvPr id="0" name=""/>
        <dsp:cNvSpPr/>
      </dsp:nvSpPr>
      <dsp:spPr>
        <a:xfrm rot="5400000">
          <a:off x="2750536" y="-555560"/>
          <a:ext cx="1895661" cy="348081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endParaRPr lang="en-US" sz="2000" kern="1200"/>
        </a:p>
        <a:p>
          <a:pPr marL="228600" lvl="1" indent="-228600" algn="l" defTabSz="889000">
            <a:lnSpc>
              <a:spcPct val="90000"/>
            </a:lnSpc>
            <a:spcBef>
              <a:spcPct val="0"/>
            </a:spcBef>
            <a:spcAft>
              <a:spcPct val="15000"/>
            </a:spcAft>
            <a:buChar char="•"/>
          </a:pPr>
          <a:r>
            <a:rPr lang="en-US" sz="2000" kern="1200"/>
            <a:t>ICE officers are only required to have “reasonable suspicion” of an immigration violation to initiate a car stop</a:t>
          </a:r>
        </a:p>
      </dsp:txBody>
      <dsp:txXfrm rot="-5400000">
        <a:off x="1957959" y="329556"/>
        <a:ext cx="3388277" cy="1710583"/>
      </dsp:txXfrm>
    </dsp:sp>
    <dsp:sp modelId="{1959E763-8DA2-459D-8B27-2D3736D82749}">
      <dsp:nvSpPr>
        <dsp:cNvPr id="0" name=""/>
        <dsp:cNvSpPr/>
      </dsp:nvSpPr>
      <dsp:spPr>
        <a:xfrm>
          <a:off x="0" y="59"/>
          <a:ext cx="1957959" cy="2369576"/>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1" i="1" kern="1200"/>
            <a:t> ICE Car Stops With an Administrative Warrant:</a:t>
          </a:r>
          <a:endParaRPr lang="en-US" sz="1800" kern="1200"/>
        </a:p>
      </dsp:txBody>
      <dsp:txXfrm>
        <a:off x="95580" y="95639"/>
        <a:ext cx="1766799" cy="2178416"/>
      </dsp:txXfrm>
    </dsp:sp>
    <dsp:sp modelId="{BC8A26E7-6FF6-4D55-8189-A6321B726235}">
      <dsp:nvSpPr>
        <dsp:cNvPr id="0" name=""/>
        <dsp:cNvSpPr/>
      </dsp:nvSpPr>
      <dsp:spPr>
        <a:xfrm rot="5400000">
          <a:off x="2750536" y="1932494"/>
          <a:ext cx="1895661" cy="348081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a:t>ICE must have probable cause to believe the person is here in violation of the laws of the United States.</a:t>
          </a:r>
        </a:p>
      </dsp:txBody>
      <dsp:txXfrm rot="-5400000">
        <a:off x="1957959" y="2817611"/>
        <a:ext cx="3388277" cy="1710583"/>
      </dsp:txXfrm>
    </dsp:sp>
    <dsp:sp modelId="{3C3D3763-DABC-41CC-9B14-DF22BD4045C9}">
      <dsp:nvSpPr>
        <dsp:cNvPr id="0" name=""/>
        <dsp:cNvSpPr/>
      </dsp:nvSpPr>
      <dsp:spPr>
        <a:xfrm>
          <a:off x="0" y="2488114"/>
          <a:ext cx="1957959" cy="2369576"/>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1" i="1" kern="1200"/>
            <a:t> ICE Arrests With an Administrative Warrant (NOT IN A HOME):</a:t>
          </a:r>
          <a:endParaRPr lang="en-US" sz="1800" kern="1200"/>
        </a:p>
      </dsp:txBody>
      <dsp:txXfrm>
        <a:off x="95580" y="2583694"/>
        <a:ext cx="1766799" cy="217841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C6D2-8105-4EC4-AFB0-81E18373F61E}">
      <dsp:nvSpPr>
        <dsp:cNvPr id="0" name=""/>
        <dsp:cNvSpPr/>
      </dsp:nvSpPr>
      <dsp:spPr>
        <a:xfrm>
          <a:off x="0" y="460529"/>
          <a:ext cx="11082336" cy="43942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60112" tIns="645668" rIns="860112" bIns="220472" numCol="1" spcCol="1270" anchor="t" anchorCtr="0">
          <a:noAutofit/>
        </a:bodyPr>
        <a:lstStyle/>
        <a:p>
          <a:pPr marL="285750" lvl="1" indent="-285750" algn="l" defTabSz="1377950">
            <a:lnSpc>
              <a:spcPct val="90000"/>
            </a:lnSpc>
            <a:spcBef>
              <a:spcPct val="0"/>
            </a:spcBef>
            <a:spcAft>
              <a:spcPct val="15000"/>
            </a:spcAft>
            <a:buChar char="•"/>
          </a:pPr>
          <a:r>
            <a:rPr lang="en-US" sz="3100" b="1" i="1" kern="1200" baseline="0"/>
            <a:t>The Right to Arrest Without a Warrant </a:t>
          </a:r>
          <a:r>
            <a:rPr lang="en-US" sz="3100" b="1" i="0" kern="1200" baseline="0"/>
            <a:t>(NOT IN A HOME):</a:t>
          </a:r>
          <a:endParaRPr lang="en-US" sz="3100" kern="1200"/>
        </a:p>
        <a:p>
          <a:pPr marL="571500" lvl="2" indent="-285750" algn="l" defTabSz="1377950">
            <a:lnSpc>
              <a:spcPct val="90000"/>
            </a:lnSpc>
            <a:spcBef>
              <a:spcPct val="0"/>
            </a:spcBef>
            <a:spcAft>
              <a:spcPct val="15000"/>
            </a:spcAft>
            <a:buChar char="•"/>
          </a:pPr>
          <a:r>
            <a:rPr lang="en-US" sz="3100" kern="1200"/>
            <a:t>To arrest a person on the streets or in a car, without a warrant, ICE must have “reason to believe” the individual is</a:t>
          </a:r>
        </a:p>
        <a:p>
          <a:pPr marL="857250" lvl="3" indent="-285750" algn="l" defTabSz="1377950">
            <a:lnSpc>
              <a:spcPct val="90000"/>
            </a:lnSpc>
            <a:spcBef>
              <a:spcPct val="0"/>
            </a:spcBef>
            <a:spcAft>
              <a:spcPct val="15000"/>
            </a:spcAft>
            <a:buChar char="•"/>
          </a:pPr>
          <a:r>
            <a:rPr lang="en-US" sz="3100" kern="1200"/>
            <a:t>(i) in the US in violation of immigration laws and</a:t>
          </a:r>
        </a:p>
        <a:p>
          <a:pPr marL="857250" lvl="3" indent="-285750" algn="l" defTabSz="1377950">
            <a:lnSpc>
              <a:spcPct val="90000"/>
            </a:lnSpc>
            <a:spcBef>
              <a:spcPct val="0"/>
            </a:spcBef>
            <a:spcAft>
              <a:spcPct val="15000"/>
            </a:spcAft>
            <a:buChar char="•"/>
          </a:pPr>
          <a:r>
            <a:rPr lang="en-US" sz="3100" kern="1200"/>
            <a:t>(ii)  “likely to escape before an arrest warrant can be obtained.” </a:t>
          </a:r>
        </a:p>
      </dsp:txBody>
      <dsp:txXfrm>
        <a:off x="0" y="460529"/>
        <a:ext cx="11082336" cy="4394250"/>
      </dsp:txXfrm>
    </dsp:sp>
    <dsp:sp modelId="{40888495-D336-4BC4-9AD8-43A0919FB6E2}">
      <dsp:nvSpPr>
        <dsp:cNvPr id="0" name=""/>
        <dsp:cNvSpPr/>
      </dsp:nvSpPr>
      <dsp:spPr>
        <a:xfrm>
          <a:off x="527601" y="2969"/>
          <a:ext cx="10552019" cy="915120"/>
        </a:xfrm>
        <a:prstGeom prst="roundRect">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93220" tIns="0" rIns="293220" bIns="0" numCol="1" spcCol="1270" anchor="ctr" anchorCtr="0">
          <a:noAutofit/>
        </a:bodyPr>
        <a:lstStyle/>
        <a:p>
          <a:pPr marL="0" lvl="0" indent="0" algn="l" defTabSz="1377950">
            <a:lnSpc>
              <a:spcPct val="90000"/>
            </a:lnSpc>
            <a:spcBef>
              <a:spcPct val="0"/>
            </a:spcBef>
            <a:spcAft>
              <a:spcPct val="35000"/>
            </a:spcAft>
            <a:buNone/>
          </a:pPr>
          <a:r>
            <a:rPr lang="en-US" sz="3100" b="1" i="1" kern="1200"/>
            <a:t>NOTE:  ICE sometimes has a warrant, even if they will not show it to a bystander. </a:t>
          </a:r>
        </a:p>
      </dsp:txBody>
      <dsp:txXfrm>
        <a:off x="572273" y="47641"/>
        <a:ext cx="10462675" cy="82577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AEC7C6-8B70-4F06-993C-FAA1E64FB37F}">
      <dsp:nvSpPr>
        <dsp:cNvPr id="0" name=""/>
        <dsp:cNvSpPr/>
      </dsp:nvSpPr>
      <dsp:spPr>
        <a:xfrm>
          <a:off x="0" y="379375"/>
          <a:ext cx="10515600" cy="965250"/>
        </a:xfrm>
        <a:prstGeom prst="round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t>Regulations refer to ICE “serving” the administrative warrant on the immigrant, but do not directly order the service.  8 C.F.R. sec. 236.1(b).  </a:t>
          </a:r>
        </a:p>
      </dsp:txBody>
      <dsp:txXfrm>
        <a:off x="47120" y="426495"/>
        <a:ext cx="10421360" cy="871010"/>
      </dsp:txXfrm>
    </dsp:sp>
    <dsp:sp modelId="{9CAFD6FC-7818-4BE3-B2ED-1034DC8AC06E}">
      <dsp:nvSpPr>
        <dsp:cNvPr id="0" name=""/>
        <dsp:cNvSpPr/>
      </dsp:nvSpPr>
      <dsp:spPr>
        <a:xfrm>
          <a:off x="0" y="1416625"/>
          <a:ext cx="10515600" cy="965250"/>
        </a:xfrm>
        <a:prstGeom prst="round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t>Who can issue an administrative warrant?  The list is long, but includes: </a:t>
          </a:r>
        </a:p>
      </dsp:txBody>
      <dsp:txXfrm>
        <a:off x="47120" y="1463745"/>
        <a:ext cx="10421360" cy="871010"/>
      </dsp:txXfrm>
    </dsp:sp>
    <dsp:sp modelId="{E80BC0CE-9B94-4CC5-9A38-2A9436465DA0}">
      <dsp:nvSpPr>
        <dsp:cNvPr id="0" name=""/>
        <dsp:cNvSpPr/>
      </dsp:nvSpPr>
      <dsp:spPr>
        <a:xfrm>
          <a:off x="0" y="2381875"/>
          <a:ext cx="10515600" cy="2121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a:t>Supervisory deportation officers;</a:t>
          </a:r>
        </a:p>
        <a:p>
          <a:pPr marL="228600" lvl="1" indent="-228600" algn="l" defTabSz="889000">
            <a:lnSpc>
              <a:spcPct val="90000"/>
            </a:lnSpc>
            <a:spcBef>
              <a:spcPct val="0"/>
            </a:spcBef>
            <a:spcAft>
              <a:spcPct val="20000"/>
            </a:spcAft>
            <a:buChar char="•"/>
          </a:pPr>
          <a:r>
            <a:rPr lang="en-US" sz="2000" kern="1200"/>
            <a:t>Supervisory detention and deportation officers</a:t>
          </a:r>
        </a:p>
        <a:p>
          <a:pPr marL="228600" lvl="1" indent="-228600" algn="l" defTabSz="889000">
            <a:lnSpc>
              <a:spcPct val="90000"/>
            </a:lnSpc>
            <a:spcBef>
              <a:spcPct val="0"/>
            </a:spcBef>
            <a:spcAft>
              <a:spcPct val="20000"/>
            </a:spcAft>
            <a:buChar char="•"/>
          </a:pPr>
          <a:r>
            <a:rPr lang="en-US" sz="2000" kern="1200"/>
            <a:t>Immigration Enforcement Agents; or</a:t>
          </a:r>
        </a:p>
        <a:p>
          <a:pPr marL="228600" lvl="1" indent="-228600" algn="l" defTabSz="889000">
            <a:lnSpc>
              <a:spcPct val="90000"/>
            </a:lnSpc>
            <a:spcBef>
              <a:spcPct val="0"/>
            </a:spcBef>
            <a:spcAft>
              <a:spcPct val="20000"/>
            </a:spcAft>
            <a:buChar char="•"/>
          </a:pPr>
          <a:r>
            <a:rPr lang="en-US" sz="2000" kern="1200"/>
            <a:t>Other duly authorized officers or employees of the Department of Homeland Security or the United States who are delegated the authority as provided in 8 CFR 2.1 to issue warrants of arrest, and who have successfully completed any required immigration law enforcement training.</a:t>
          </a:r>
        </a:p>
      </dsp:txBody>
      <dsp:txXfrm>
        <a:off x="0" y="2381875"/>
        <a:ext cx="10515600" cy="21217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F33C1B-DEB2-42E2-8C1D-C736FA93DD33}">
      <dsp:nvSpPr>
        <dsp:cNvPr id="0" name=""/>
        <dsp:cNvSpPr/>
      </dsp:nvSpPr>
      <dsp:spPr>
        <a:xfrm>
          <a:off x="0" y="233440"/>
          <a:ext cx="10515600" cy="9126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You may bear witness to a public arrest</a:t>
          </a:r>
        </a:p>
      </dsp:txBody>
      <dsp:txXfrm>
        <a:off x="44549" y="277989"/>
        <a:ext cx="10426502" cy="823502"/>
      </dsp:txXfrm>
    </dsp:sp>
    <dsp:sp modelId="{2224EC29-C838-4426-8D36-34418CDD4534}">
      <dsp:nvSpPr>
        <dsp:cNvPr id="0" name=""/>
        <dsp:cNvSpPr/>
      </dsp:nvSpPr>
      <dsp:spPr>
        <a:xfrm>
          <a:off x="0" y="1215160"/>
          <a:ext cx="10515600" cy="9126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Physically interfering or verbally berating ICE could have adverse consequences for both you and the immigrant</a:t>
          </a:r>
        </a:p>
      </dsp:txBody>
      <dsp:txXfrm>
        <a:off x="44549" y="1259709"/>
        <a:ext cx="10426502" cy="823502"/>
      </dsp:txXfrm>
    </dsp:sp>
    <dsp:sp modelId="{C4854E21-9E7A-4513-A7BE-5C6E0FDCF09F}">
      <dsp:nvSpPr>
        <dsp:cNvPr id="0" name=""/>
        <dsp:cNvSpPr/>
      </dsp:nvSpPr>
      <dsp:spPr>
        <a:xfrm>
          <a:off x="0" y="2196880"/>
          <a:ext cx="10515600" cy="9126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Rights</a:t>
          </a:r>
          <a:r>
            <a:rPr lang="en-US" sz="2400" kern="1200" baseline="0"/>
            <a:t> and Assistance of Bystanders</a:t>
          </a:r>
          <a:endParaRPr lang="en-US" sz="2400" kern="1200"/>
        </a:p>
      </dsp:txBody>
      <dsp:txXfrm>
        <a:off x="44549" y="2241429"/>
        <a:ext cx="10426502" cy="823502"/>
      </dsp:txXfrm>
    </dsp:sp>
    <dsp:sp modelId="{A625D74D-5369-4E8B-A616-50DBC9CB9E7C}">
      <dsp:nvSpPr>
        <dsp:cNvPr id="0" name=""/>
        <dsp:cNvSpPr/>
      </dsp:nvSpPr>
      <dsp:spPr>
        <a:xfrm>
          <a:off x="0" y="3109480"/>
          <a:ext cx="10515600" cy="1540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a:t>You can help by keeping calm and promoting calm</a:t>
          </a:r>
        </a:p>
        <a:p>
          <a:pPr marL="171450" lvl="1" indent="-171450" algn="l" defTabSz="844550">
            <a:lnSpc>
              <a:spcPct val="90000"/>
            </a:lnSpc>
            <a:spcBef>
              <a:spcPct val="0"/>
            </a:spcBef>
            <a:spcAft>
              <a:spcPct val="20000"/>
            </a:spcAft>
            <a:buChar char="•"/>
          </a:pPr>
          <a:r>
            <a:rPr lang="en-US" sz="1900" kern="1200"/>
            <a:t>Massachusetts law allows for videotaping, if using sound must be open and obvious</a:t>
          </a:r>
        </a:p>
        <a:p>
          <a:pPr marL="171450" lvl="1" indent="-171450" algn="l" defTabSz="844550">
            <a:lnSpc>
              <a:spcPct val="90000"/>
            </a:lnSpc>
            <a:spcBef>
              <a:spcPct val="0"/>
            </a:spcBef>
            <a:spcAft>
              <a:spcPct val="20000"/>
            </a:spcAft>
            <a:buChar char="•"/>
          </a:pPr>
          <a:r>
            <a:rPr lang="en-US" sz="1900" kern="1200"/>
            <a:t>You have the right to witness and document</a:t>
          </a:r>
        </a:p>
        <a:p>
          <a:pPr marL="171450" lvl="1" indent="-171450" algn="l" defTabSz="844550">
            <a:lnSpc>
              <a:spcPct val="90000"/>
            </a:lnSpc>
            <a:spcBef>
              <a:spcPct val="0"/>
            </a:spcBef>
            <a:spcAft>
              <a:spcPct val="20000"/>
            </a:spcAft>
            <a:buChar char="•"/>
          </a:pPr>
          <a:r>
            <a:rPr lang="en-US" sz="1900" kern="1200"/>
            <a:t>You can ask if the immigrant wants you to call someone</a:t>
          </a:r>
        </a:p>
        <a:p>
          <a:pPr marL="171450" lvl="1" indent="-171450" algn="l" defTabSz="844550">
            <a:lnSpc>
              <a:spcPct val="90000"/>
            </a:lnSpc>
            <a:spcBef>
              <a:spcPct val="0"/>
            </a:spcBef>
            <a:spcAft>
              <a:spcPct val="20000"/>
            </a:spcAft>
            <a:buChar char="•"/>
          </a:pPr>
          <a:r>
            <a:rPr lang="en-US" sz="1900" kern="1200"/>
            <a:t>You can offer to help remaining family members by preparing bond packet, offering support</a:t>
          </a:r>
        </a:p>
      </dsp:txBody>
      <dsp:txXfrm>
        <a:off x="0" y="3109480"/>
        <a:ext cx="10515600" cy="154008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18FCE0-0DDA-4137-B6FC-5556AB22F093}">
      <dsp:nvSpPr>
        <dsp:cNvPr id="0" name=""/>
        <dsp:cNvSpPr/>
      </dsp:nvSpPr>
      <dsp:spPr>
        <a:xfrm>
          <a:off x="0" y="282374"/>
          <a:ext cx="5438774" cy="2664900"/>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22109" tIns="374904" rIns="422109"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Random stops, non-targeted enforcement</a:t>
          </a:r>
        </a:p>
        <a:p>
          <a:pPr marL="171450" lvl="1" indent="-171450" algn="l" defTabSz="800100">
            <a:lnSpc>
              <a:spcPct val="90000"/>
            </a:lnSpc>
            <a:spcBef>
              <a:spcPct val="0"/>
            </a:spcBef>
            <a:spcAft>
              <a:spcPct val="15000"/>
            </a:spcAft>
            <a:buChar char="•"/>
          </a:pPr>
          <a:r>
            <a:rPr lang="en-US" sz="1800" kern="1200"/>
            <a:t>Violence against immigrant</a:t>
          </a:r>
        </a:p>
        <a:p>
          <a:pPr marL="171450" lvl="1" indent="-171450" algn="l" defTabSz="800100">
            <a:lnSpc>
              <a:spcPct val="90000"/>
            </a:lnSpc>
            <a:spcBef>
              <a:spcPct val="0"/>
            </a:spcBef>
            <a:spcAft>
              <a:spcPct val="15000"/>
            </a:spcAft>
            <a:buChar char="•"/>
          </a:pPr>
          <a:r>
            <a:rPr lang="en-US" sz="1800" kern="1200"/>
            <a:t>Harm, mistreatment to children</a:t>
          </a:r>
        </a:p>
        <a:p>
          <a:pPr marL="171450" lvl="1" indent="-171450" algn="l" defTabSz="800100">
            <a:lnSpc>
              <a:spcPct val="90000"/>
            </a:lnSpc>
            <a:spcBef>
              <a:spcPct val="0"/>
            </a:spcBef>
            <a:spcAft>
              <a:spcPct val="15000"/>
            </a:spcAft>
            <a:buChar char="•"/>
          </a:pPr>
          <a:r>
            <a:rPr lang="en-US" sz="1800" kern="1200"/>
            <a:t>Harm, mistreatment to pregnant women</a:t>
          </a:r>
        </a:p>
        <a:p>
          <a:pPr marL="171450" lvl="1" indent="-171450" algn="l" defTabSz="800100">
            <a:lnSpc>
              <a:spcPct val="90000"/>
            </a:lnSpc>
            <a:spcBef>
              <a:spcPct val="0"/>
            </a:spcBef>
            <a:spcAft>
              <a:spcPct val="15000"/>
            </a:spcAft>
            <a:buChar char="•"/>
          </a:pPr>
          <a:r>
            <a:rPr lang="en-US" sz="1800" kern="1200"/>
            <a:t>Long term residents, green card holders, those w/out any criminal record</a:t>
          </a:r>
        </a:p>
        <a:p>
          <a:pPr marL="171450" lvl="1" indent="-171450" algn="l" defTabSz="800100">
            <a:lnSpc>
              <a:spcPct val="90000"/>
            </a:lnSpc>
            <a:spcBef>
              <a:spcPct val="0"/>
            </a:spcBef>
            <a:spcAft>
              <a:spcPct val="15000"/>
            </a:spcAft>
            <a:buChar char="•"/>
          </a:pPr>
          <a:r>
            <a:rPr lang="en-US" sz="1800" kern="1200"/>
            <a:t>Demeaning or outrageous behavior</a:t>
          </a:r>
        </a:p>
        <a:p>
          <a:pPr marL="171450" lvl="1" indent="-171450" algn="l" defTabSz="800100">
            <a:lnSpc>
              <a:spcPct val="90000"/>
            </a:lnSpc>
            <a:spcBef>
              <a:spcPct val="0"/>
            </a:spcBef>
            <a:spcAft>
              <a:spcPct val="15000"/>
            </a:spcAft>
            <a:buChar char="•"/>
          </a:pPr>
          <a:r>
            <a:rPr lang="en-US" sz="1800" kern="1200"/>
            <a:t>Violence against bystanders</a:t>
          </a:r>
        </a:p>
      </dsp:txBody>
      <dsp:txXfrm>
        <a:off x="0" y="282374"/>
        <a:ext cx="5438774" cy="2664900"/>
      </dsp:txXfrm>
    </dsp:sp>
    <dsp:sp modelId="{75FEDC65-526A-40E7-8243-65F89A2D5ADB}">
      <dsp:nvSpPr>
        <dsp:cNvPr id="0" name=""/>
        <dsp:cNvSpPr/>
      </dsp:nvSpPr>
      <dsp:spPr>
        <a:xfrm>
          <a:off x="271938" y="16694"/>
          <a:ext cx="3807142" cy="531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3901" tIns="0" rIns="143901" bIns="0" numCol="1" spcCol="1270" anchor="ctr" anchorCtr="0">
          <a:noAutofit/>
        </a:bodyPr>
        <a:lstStyle/>
        <a:p>
          <a:pPr marL="0" lvl="0" indent="0" algn="l" defTabSz="800100">
            <a:lnSpc>
              <a:spcPct val="90000"/>
            </a:lnSpc>
            <a:spcBef>
              <a:spcPct val="0"/>
            </a:spcBef>
            <a:spcAft>
              <a:spcPct val="35000"/>
            </a:spcAft>
            <a:buNone/>
          </a:pPr>
          <a:r>
            <a:rPr lang="en-US" sz="1800" kern="1200"/>
            <a:t>WHAT ARE WE LOOKING FOR?</a:t>
          </a:r>
        </a:p>
      </dsp:txBody>
      <dsp:txXfrm>
        <a:off x="297877" y="42633"/>
        <a:ext cx="3755264" cy="479482"/>
      </dsp:txXfrm>
    </dsp:sp>
    <dsp:sp modelId="{081BF328-ACCA-497B-81B3-80DE77898C49}">
      <dsp:nvSpPr>
        <dsp:cNvPr id="0" name=""/>
        <dsp:cNvSpPr/>
      </dsp:nvSpPr>
      <dsp:spPr>
        <a:xfrm>
          <a:off x="0" y="3310155"/>
          <a:ext cx="5438774" cy="1530900"/>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22109" tIns="374904" rIns="422109"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ACLU: </a:t>
          </a:r>
          <a:r>
            <a:rPr lang="en-US" sz="1800" b="0" i="0" kern="1200"/>
            <a:t>617-482-3170</a:t>
          </a:r>
          <a:endParaRPr lang="en-US" sz="1800" kern="1200"/>
        </a:p>
        <a:p>
          <a:pPr marL="171450" lvl="1" indent="-171450" algn="l" defTabSz="800100">
            <a:lnSpc>
              <a:spcPct val="90000"/>
            </a:lnSpc>
            <a:spcBef>
              <a:spcPct val="0"/>
            </a:spcBef>
            <a:spcAft>
              <a:spcPct val="15000"/>
            </a:spcAft>
            <a:buChar char="•"/>
          </a:pPr>
          <a:r>
            <a:rPr lang="en-US" sz="1800" kern="1200"/>
            <a:t>Attorney General (ask for Civil Rights Division) </a:t>
          </a:r>
          <a:r>
            <a:rPr lang="en-US" sz="1800" b="0" i="0" kern="1200"/>
            <a:t>(617) 963-2000.</a:t>
          </a:r>
          <a:endParaRPr lang="en-US" sz="1800" kern="1200"/>
        </a:p>
        <a:p>
          <a:pPr marL="171450" lvl="1" indent="-171450" algn="l" defTabSz="800100">
            <a:lnSpc>
              <a:spcPct val="90000"/>
            </a:lnSpc>
            <a:spcBef>
              <a:spcPct val="0"/>
            </a:spcBef>
            <a:spcAft>
              <a:spcPct val="15000"/>
            </a:spcAft>
            <a:buChar char="•"/>
          </a:pPr>
          <a:r>
            <a:rPr lang="en-US" sz="1800" kern="1200"/>
            <a:t>LUCE:  </a:t>
          </a:r>
          <a:r>
            <a:rPr lang="en-US" sz="1800" b="0" i="0" kern="1200"/>
            <a:t>617-370-5023</a:t>
          </a:r>
          <a:endParaRPr lang="en-US" sz="1800" b="0" kern="1200"/>
        </a:p>
      </dsp:txBody>
      <dsp:txXfrm>
        <a:off x="0" y="3310155"/>
        <a:ext cx="5438774" cy="1530900"/>
      </dsp:txXfrm>
    </dsp:sp>
    <dsp:sp modelId="{6E08FF23-7211-4026-99A7-751D09114ACD}">
      <dsp:nvSpPr>
        <dsp:cNvPr id="0" name=""/>
        <dsp:cNvSpPr/>
      </dsp:nvSpPr>
      <dsp:spPr>
        <a:xfrm>
          <a:off x="271938" y="3044474"/>
          <a:ext cx="3807142" cy="531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3901" tIns="0" rIns="143901" bIns="0" numCol="1" spcCol="1270" anchor="ctr" anchorCtr="0">
          <a:noAutofit/>
        </a:bodyPr>
        <a:lstStyle/>
        <a:p>
          <a:pPr marL="0" lvl="0" indent="0" algn="l" defTabSz="800100">
            <a:lnSpc>
              <a:spcPct val="90000"/>
            </a:lnSpc>
            <a:spcBef>
              <a:spcPct val="0"/>
            </a:spcBef>
            <a:spcAft>
              <a:spcPct val="35000"/>
            </a:spcAft>
            <a:buNone/>
          </a:pPr>
          <a:r>
            <a:rPr lang="en-US" sz="1800" kern="1200"/>
            <a:t>REPORTS:</a:t>
          </a:r>
        </a:p>
      </dsp:txBody>
      <dsp:txXfrm>
        <a:off x="297877" y="3070413"/>
        <a:ext cx="3755264" cy="47948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2D6F-4192-442E-B151-37D2A07020EC}">
      <dsp:nvSpPr>
        <dsp:cNvPr id="0" name=""/>
        <dsp:cNvSpPr/>
      </dsp:nvSpPr>
      <dsp:spPr>
        <a:xfrm>
          <a:off x="0" y="103859"/>
          <a:ext cx="5438774" cy="51480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Private Attorneys:</a:t>
          </a:r>
        </a:p>
      </dsp:txBody>
      <dsp:txXfrm>
        <a:off x="25130" y="128989"/>
        <a:ext cx="5388514" cy="464540"/>
      </dsp:txXfrm>
    </dsp:sp>
    <dsp:sp modelId="{A2819BA5-2D35-484C-B0F0-42A574916988}">
      <dsp:nvSpPr>
        <dsp:cNvPr id="0" name=""/>
        <dsp:cNvSpPr/>
      </dsp:nvSpPr>
      <dsp:spPr>
        <a:xfrm>
          <a:off x="0" y="618659"/>
          <a:ext cx="5438774" cy="84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681"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a:t>Flat fees versus hourly</a:t>
          </a:r>
        </a:p>
        <a:p>
          <a:pPr marL="171450" lvl="1" indent="-171450" algn="l" defTabSz="755650">
            <a:lnSpc>
              <a:spcPct val="90000"/>
            </a:lnSpc>
            <a:spcBef>
              <a:spcPct val="0"/>
            </a:spcBef>
            <a:spcAft>
              <a:spcPct val="20000"/>
            </a:spcAft>
            <a:buChar char="•"/>
          </a:pPr>
          <a:r>
            <a:rPr lang="en-US" sz="1700" kern="1200"/>
            <a:t>Payment plans</a:t>
          </a:r>
        </a:p>
        <a:p>
          <a:pPr marL="171450" lvl="1" indent="-171450" algn="l" defTabSz="755650">
            <a:lnSpc>
              <a:spcPct val="90000"/>
            </a:lnSpc>
            <a:spcBef>
              <a:spcPct val="0"/>
            </a:spcBef>
            <a:spcAft>
              <a:spcPct val="20000"/>
            </a:spcAft>
            <a:buChar char="•"/>
          </a:pPr>
          <a:r>
            <a:rPr lang="en-US" sz="1700" kern="1200"/>
            <a:t>Refunds</a:t>
          </a:r>
        </a:p>
      </dsp:txBody>
      <dsp:txXfrm>
        <a:off x="0" y="618659"/>
        <a:ext cx="5438774" cy="842490"/>
      </dsp:txXfrm>
    </dsp:sp>
    <dsp:sp modelId="{03378D47-CAA2-4EEA-9F00-431192EEE9DD}">
      <dsp:nvSpPr>
        <dsp:cNvPr id="0" name=""/>
        <dsp:cNvSpPr/>
      </dsp:nvSpPr>
      <dsp:spPr>
        <a:xfrm>
          <a:off x="0" y="1461150"/>
          <a:ext cx="5438774" cy="51480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Factors to consider:</a:t>
          </a:r>
        </a:p>
      </dsp:txBody>
      <dsp:txXfrm>
        <a:off x="25130" y="1486280"/>
        <a:ext cx="5388514" cy="464540"/>
      </dsp:txXfrm>
    </dsp:sp>
    <dsp:sp modelId="{1BBC16FC-7259-48C1-B21F-15C33D9425CF}">
      <dsp:nvSpPr>
        <dsp:cNvPr id="0" name=""/>
        <dsp:cNvSpPr/>
      </dsp:nvSpPr>
      <dsp:spPr>
        <a:xfrm>
          <a:off x="0" y="1975950"/>
          <a:ext cx="5438774" cy="277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681"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a:t>Public Discipline – check the BBO website</a:t>
          </a:r>
        </a:p>
        <a:p>
          <a:pPr marL="342900" lvl="2" indent="-171450" algn="l" defTabSz="755650">
            <a:lnSpc>
              <a:spcPct val="90000"/>
            </a:lnSpc>
            <a:spcBef>
              <a:spcPct val="0"/>
            </a:spcBef>
            <a:spcAft>
              <a:spcPct val="20000"/>
            </a:spcAft>
            <a:buChar char="•"/>
          </a:pPr>
          <a:r>
            <a:rPr lang="en-US" sz="1700" kern="1200"/>
            <a:t>https://www.massbbo.org/s/attorney-registration</a:t>
          </a:r>
        </a:p>
        <a:p>
          <a:pPr marL="171450" lvl="1" indent="-171450" algn="l" defTabSz="755650">
            <a:lnSpc>
              <a:spcPct val="90000"/>
            </a:lnSpc>
            <a:spcBef>
              <a:spcPct val="0"/>
            </a:spcBef>
            <a:spcAft>
              <a:spcPct val="20000"/>
            </a:spcAft>
            <a:buChar char="•"/>
          </a:pPr>
          <a:r>
            <a:rPr lang="en-US" sz="1700" kern="1200"/>
            <a:t>Online ratings</a:t>
          </a:r>
        </a:p>
        <a:p>
          <a:pPr marL="171450" lvl="1" indent="-171450" algn="l" defTabSz="755650">
            <a:lnSpc>
              <a:spcPct val="90000"/>
            </a:lnSpc>
            <a:spcBef>
              <a:spcPct val="0"/>
            </a:spcBef>
            <a:spcAft>
              <a:spcPct val="20000"/>
            </a:spcAft>
            <a:buChar char="•"/>
          </a:pPr>
          <a:r>
            <a:rPr lang="en-US" sz="1700" kern="1200"/>
            <a:t>Word of Mouth</a:t>
          </a:r>
        </a:p>
        <a:p>
          <a:pPr marL="171450" lvl="1" indent="-171450" algn="l" defTabSz="755650">
            <a:lnSpc>
              <a:spcPct val="90000"/>
            </a:lnSpc>
            <a:spcBef>
              <a:spcPct val="0"/>
            </a:spcBef>
            <a:spcAft>
              <a:spcPct val="20000"/>
            </a:spcAft>
            <a:buChar char="•"/>
          </a:pPr>
          <a:r>
            <a:rPr lang="en-US" sz="1700" kern="1200"/>
            <a:t>Referral basis </a:t>
          </a:r>
        </a:p>
        <a:p>
          <a:pPr marL="171450" lvl="1" indent="-171450" algn="l" defTabSz="755650">
            <a:lnSpc>
              <a:spcPct val="90000"/>
            </a:lnSpc>
            <a:spcBef>
              <a:spcPct val="0"/>
            </a:spcBef>
            <a:spcAft>
              <a:spcPct val="20000"/>
            </a:spcAft>
            <a:buChar char="•"/>
          </a:pPr>
          <a:r>
            <a:rPr lang="en-US" sz="1700" kern="1200"/>
            <a:t>Experience </a:t>
          </a:r>
        </a:p>
        <a:p>
          <a:pPr marL="342900" lvl="2" indent="-171450" algn="l" defTabSz="755650">
            <a:lnSpc>
              <a:spcPct val="90000"/>
            </a:lnSpc>
            <a:spcBef>
              <a:spcPct val="0"/>
            </a:spcBef>
            <a:spcAft>
              <a:spcPct val="20000"/>
            </a:spcAft>
            <a:buChar char="•"/>
          </a:pPr>
          <a:r>
            <a:rPr lang="en-US" sz="1700" kern="1200"/>
            <a:t>Do they do bond/removal defense?</a:t>
          </a:r>
        </a:p>
        <a:p>
          <a:pPr marL="342900" lvl="2" indent="-171450" algn="l" defTabSz="755650">
            <a:lnSpc>
              <a:spcPct val="90000"/>
            </a:lnSpc>
            <a:spcBef>
              <a:spcPct val="0"/>
            </a:spcBef>
            <a:spcAft>
              <a:spcPct val="20000"/>
            </a:spcAft>
            <a:buChar char="•"/>
          </a:pPr>
          <a:r>
            <a:rPr lang="en-US" sz="1700" kern="1200"/>
            <a:t>Are they a member of AILA?</a:t>
          </a:r>
        </a:p>
        <a:p>
          <a:pPr marL="342900" lvl="2" indent="-171450" algn="l" defTabSz="755650">
            <a:lnSpc>
              <a:spcPct val="90000"/>
            </a:lnSpc>
            <a:spcBef>
              <a:spcPct val="0"/>
            </a:spcBef>
            <a:spcAft>
              <a:spcPct val="20000"/>
            </a:spcAft>
            <a:buChar char="•"/>
          </a:pPr>
          <a:r>
            <a:rPr lang="en-US" sz="1700" kern="1200"/>
            <a:t>How often do they represent immigrants?</a:t>
          </a:r>
        </a:p>
        <a:p>
          <a:pPr marL="342900" lvl="2" indent="-171450" algn="l" defTabSz="755650">
            <a:lnSpc>
              <a:spcPct val="90000"/>
            </a:lnSpc>
            <a:spcBef>
              <a:spcPct val="0"/>
            </a:spcBef>
            <a:spcAft>
              <a:spcPct val="20000"/>
            </a:spcAft>
            <a:buChar char="•"/>
          </a:pPr>
          <a:r>
            <a:rPr lang="en-US" sz="1700" kern="1200"/>
            <a:t>When is the last time they went to court?</a:t>
          </a:r>
        </a:p>
      </dsp:txBody>
      <dsp:txXfrm>
        <a:off x="0" y="1975950"/>
        <a:ext cx="5438774" cy="2777940"/>
      </dsp:txXfrm>
    </dsp:sp>
  </dsp:spTree>
</dsp:drawing>
</file>

<file path=ppt/diagrams/layout1.xml><?xml version="1.0" encoding="utf-8"?>
<dgm:layoutDef xmlns:dgm="http://schemas.openxmlformats.org/drawingml/2006/diagram" xmlns:a="http://schemas.openxmlformats.org/drawingml/2006/main" uniqueId="urn:microsoft.com/office/officeart/2016/7/layout/BasicProcessNew">
  <dgm:title val="Basic Process New"/>
  <dgm:desc val=""/>
  <dgm:catLst>
    <dgm:cat type="process"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fact="0.15"/>
      <dgm:constr type="h" for="ch" forName="sibTrans" op="equ"/>
    </dgm:constrLst>
    <dgm:ruleLst>
      <dgm:rule type="h" for="ch" forName="sibTrans" val="6.75" fact="NaN" max="NaN"/>
      <dgm:rule type="w" for="ch" forName="sibTrans" val="8.75" fact="NaN" max="NaN"/>
    </dgm:ruleLst>
    <dgm:forEach name="nodesForEach" axis="ch" ptType="node">
      <dgm:layoutNode name="node">
        <dgm:varLst>
          <dgm:bulletEnabled val="1"/>
        </dgm:varLst>
        <dgm:alg type="tx"/>
        <dgm:shape xmlns:r="http://schemas.openxmlformats.org/officeDocument/2006/relationships" type="rect" r:blip="">
          <dgm:adjLst>
            <dgm:adj idx="1" val="0.1"/>
          </dgm:adjLst>
        </dgm:shape>
        <dgm:presOf axis="desOrSelf" ptType="node"/>
        <dgm:constrLst>
          <dgm:constr type="h" refType="w" fact="0.6"/>
          <dgm:constr type="lMarg" val="12"/>
          <dgm:constr type="rMarg" val="12"/>
          <dgm:constr type="tMarg" val="12"/>
          <dgm:constr type="bMarg" val="12"/>
        </dgm:constrLst>
        <dgm:ruleLst>
          <dgm:rule type="primFontSz" val="11" fact="NaN" max="NaN"/>
          <dgm:rule type="primFontSz" val="18" fact="NaN" max="NaN"/>
          <dgm:rule type="h" val="NaN" fact="1.5" max="NaN"/>
          <dgm:rule type="primFontSz" val="11" fact="NaN" max="NaN"/>
          <dgm:rule type="h" val="INF" fact="NaN" max="NaN"/>
        </dgm:ruleLst>
      </dgm:layoutNode>
      <dgm:forEach name="sibTransForEach" axis="followSib" ptType="sibTrans" cnt="1">
        <dgm:layoutNode name="sibTransSpacerBeforeConnector" styleLbl="node1">
          <dgm:alg type="sp"/>
          <dgm:shape xmlns:r="http://schemas.openxmlformats.org/officeDocument/2006/relationships" r:blip="">
            <dgm:adjLst/>
          </dgm:shape>
          <dgm:constrLst>
            <dgm:constr type="w" val="4.5"/>
          </dgm:constrLst>
          <dgm:presOf/>
          <dgm:ruleLst>
            <dgm:rule type="w" val="4.5" fact="NaN" max="NaN"/>
          </dgm:ruleLst>
        </dgm:layoutNode>
        <dgm:layoutNode name="sibTrans" styleLbl="node1">
          <dgm:alg type="sp"/>
          <dgm:shape xmlns:r="http://schemas.openxmlformats.org/officeDocument/2006/relationships" type="rightArrow" r:blip="">
            <dgm:adjLst>
              <dgm:adj idx="1" val="0.5"/>
            </dgm:adjLst>
          </dgm:shape>
          <dgm:presOf axis="self"/>
          <dgm:constrLst>
            <dgm:constr type="h" val="6.75"/>
          </dgm:constrLst>
          <dgm:ruleLst>
            <dgm:rule type="h" val="6.75" fact="NaN" max="NaN"/>
            <dgm:rule type="w" val="8.75" fact="NaN" max="NaN"/>
          </dgm:ruleLst>
        </dgm:layoutNode>
        <dgm:layoutNode name="sibTransSpacerAfterConnector">
          <dgm:alg type="sp"/>
          <dgm:shape xmlns:r="http://schemas.openxmlformats.org/officeDocument/2006/relationships" r:blip="">
            <dgm:adjLst/>
          </dgm:shape>
          <dgm:constrLst>
            <dgm:constr type="w" val="4.5"/>
          </dgm:constrLst>
          <dgm:presOf/>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4"/>
            <a:ext cx="4033943" cy="352374"/>
          </a:xfrm>
          <a:prstGeom prst="rect">
            <a:avLst/>
          </a:prstGeom>
        </p:spPr>
        <p:txBody>
          <a:bodyPr vert="horz" lIns="80222" tIns="40112" rIns="80222" bIns="40112" rtlCol="0"/>
          <a:lstStyle>
            <a:lvl1pPr algn="l">
              <a:defRPr sz="1100"/>
            </a:lvl1pPr>
          </a:lstStyle>
          <a:p>
            <a:endParaRPr lang="en-US"/>
          </a:p>
        </p:txBody>
      </p:sp>
      <p:sp>
        <p:nvSpPr>
          <p:cNvPr id="3" name="Date Placeholder 2"/>
          <p:cNvSpPr>
            <a:spLocks noGrp="1"/>
          </p:cNvSpPr>
          <p:nvPr>
            <p:ph type="dt" idx="1"/>
          </p:nvPr>
        </p:nvSpPr>
        <p:spPr>
          <a:xfrm>
            <a:off x="5273004" y="4"/>
            <a:ext cx="4033943" cy="352374"/>
          </a:xfrm>
          <a:prstGeom prst="rect">
            <a:avLst/>
          </a:prstGeom>
        </p:spPr>
        <p:txBody>
          <a:bodyPr vert="horz" lIns="80222" tIns="40112" rIns="80222" bIns="40112" rtlCol="0"/>
          <a:lstStyle>
            <a:lvl1pPr algn="r">
              <a:defRPr sz="1100"/>
            </a:lvl1pPr>
          </a:lstStyle>
          <a:p>
            <a:fld id="{AAB89070-0BFF-4174-9B51-8A7B8537D771}" type="datetimeFigureOut">
              <a:rPr lang="en-US" smtClean="0"/>
              <a:t>10/3/2025</a:t>
            </a:fld>
            <a:endParaRPr lang="en-US"/>
          </a:p>
        </p:txBody>
      </p:sp>
      <p:sp>
        <p:nvSpPr>
          <p:cNvPr id="4" name="Slide Image Placeholder 3"/>
          <p:cNvSpPr>
            <a:spLocks noGrp="1" noRot="1" noChangeAspect="1"/>
          </p:cNvSpPr>
          <p:nvPr>
            <p:ph type="sldImg" idx="2"/>
          </p:nvPr>
        </p:nvSpPr>
        <p:spPr>
          <a:xfrm>
            <a:off x="2547938" y="877888"/>
            <a:ext cx="4213225" cy="2370137"/>
          </a:xfrm>
          <a:prstGeom prst="rect">
            <a:avLst/>
          </a:prstGeom>
          <a:noFill/>
          <a:ln w="12700">
            <a:solidFill>
              <a:prstClr val="black"/>
            </a:solidFill>
          </a:ln>
        </p:spPr>
        <p:txBody>
          <a:bodyPr vert="horz" lIns="80222" tIns="40112" rIns="80222" bIns="40112" rtlCol="0" anchor="ctr"/>
          <a:lstStyle/>
          <a:p>
            <a:endParaRPr lang="en-US"/>
          </a:p>
        </p:txBody>
      </p:sp>
      <p:sp>
        <p:nvSpPr>
          <p:cNvPr id="5" name="Notes Placeholder 4"/>
          <p:cNvSpPr>
            <a:spLocks noGrp="1"/>
          </p:cNvSpPr>
          <p:nvPr>
            <p:ph type="body" sz="quarter" idx="3"/>
          </p:nvPr>
        </p:nvSpPr>
        <p:spPr>
          <a:xfrm>
            <a:off x="930910" y="3379872"/>
            <a:ext cx="7447280" cy="2765346"/>
          </a:xfrm>
          <a:prstGeom prst="rect">
            <a:avLst/>
          </a:prstGeom>
        </p:spPr>
        <p:txBody>
          <a:bodyPr vert="horz" lIns="80222" tIns="40112" rIns="80222" bIns="4011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670729"/>
            <a:ext cx="4033943" cy="352373"/>
          </a:xfrm>
          <a:prstGeom prst="rect">
            <a:avLst/>
          </a:prstGeom>
        </p:spPr>
        <p:txBody>
          <a:bodyPr vert="horz" lIns="80222" tIns="40112" rIns="80222" bIns="40112" rtlCol="0" anchor="b"/>
          <a:lstStyle>
            <a:lvl1pPr algn="l">
              <a:defRPr sz="1100"/>
            </a:lvl1pPr>
          </a:lstStyle>
          <a:p>
            <a:endParaRPr lang="en-US"/>
          </a:p>
        </p:txBody>
      </p:sp>
      <p:sp>
        <p:nvSpPr>
          <p:cNvPr id="7" name="Slide Number Placeholder 6"/>
          <p:cNvSpPr>
            <a:spLocks noGrp="1"/>
          </p:cNvSpPr>
          <p:nvPr>
            <p:ph type="sldNum" sz="quarter" idx="5"/>
          </p:nvPr>
        </p:nvSpPr>
        <p:spPr>
          <a:xfrm>
            <a:off x="5273004" y="6670729"/>
            <a:ext cx="4033943" cy="352373"/>
          </a:xfrm>
          <a:prstGeom prst="rect">
            <a:avLst/>
          </a:prstGeom>
        </p:spPr>
        <p:txBody>
          <a:bodyPr vert="horz" lIns="80222" tIns="40112" rIns="80222" bIns="40112"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9"/>
        <p:cNvGrpSpPr/>
        <p:nvPr/>
      </p:nvGrpSpPr>
      <p:grpSpPr>
        <a:xfrm>
          <a:off x="0" y="0"/>
          <a:ext cx="0" cy="0"/>
          <a:chOff x="0" y="0"/>
          <a:chExt cx="0" cy="0"/>
        </a:xfrm>
      </p:grpSpPr>
      <p:sp>
        <p:nvSpPr>
          <p:cNvPr id="320" name="Google Shape;320;g22a1c454a81_0_17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1" name="Google Shape;321;g22a1c454a81_0_1773:notes"/>
          <p:cNvSpPr txBox="1">
            <a:spLocks noGrp="1"/>
          </p:cNvSpPr>
          <p:nvPr>
            <p:ph type="body" idx="1"/>
          </p:nvPr>
        </p:nvSpPr>
        <p:spPr>
          <a:xfrm>
            <a:off x="685800" y="5036651"/>
            <a:ext cx="5486400" cy="35865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22" name="Google Shape;322;g22a1c454a81_0_1773: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
              <a:t>2</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9"/>
        <p:cNvGrpSpPr/>
        <p:nvPr/>
      </p:nvGrpSpPr>
      <p:grpSpPr>
        <a:xfrm>
          <a:off x="0" y="0"/>
          <a:ext cx="0" cy="0"/>
          <a:chOff x="0" y="0"/>
          <a:chExt cx="0" cy="0"/>
        </a:xfrm>
      </p:grpSpPr>
      <p:sp>
        <p:nvSpPr>
          <p:cNvPr id="380" name="Google Shape;380;g22a1c454a81_0_107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1" name="Google Shape;381;g22a1c454a81_0_107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82" name="Google Shape;382;g22a1c454a81_0_107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0">
          <a:extLst>
            <a:ext uri="{FF2B5EF4-FFF2-40B4-BE49-F238E27FC236}">
              <a16:creationId xmlns:a16="http://schemas.microsoft.com/office/drawing/2014/main" id="{84F1D226-DA62-6EEA-87ED-123A64B5DF33}"/>
            </a:ext>
          </a:extLst>
        </p:cNvPr>
        <p:cNvGrpSpPr/>
        <p:nvPr/>
      </p:nvGrpSpPr>
      <p:grpSpPr>
        <a:xfrm>
          <a:off x="0" y="0"/>
          <a:ext cx="0" cy="0"/>
          <a:chOff x="0" y="0"/>
          <a:chExt cx="0" cy="0"/>
        </a:xfrm>
      </p:grpSpPr>
      <p:sp>
        <p:nvSpPr>
          <p:cNvPr id="341" name="Google Shape;341;g22a1c454a81_0_597:notes">
            <a:extLst>
              <a:ext uri="{FF2B5EF4-FFF2-40B4-BE49-F238E27FC236}">
                <a16:creationId xmlns:a16="http://schemas.microsoft.com/office/drawing/2014/main" id="{DC222AEB-5D7C-8E5D-A390-514442BA817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2" name="Google Shape;342;g22a1c454a81_0_597:notes">
            <a:extLst>
              <a:ext uri="{FF2B5EF4-FFF2-40B4-BE49-F238E27FC236}">
                <a16:creationId xmlns:a16="http://schemas.microsoft.com/office/drawing/2014/main" id="{262B0E74-4607-882C-ECDE-221942D24A72}"/>
              </a:ext>
            </a:extLst>
          </p:cNvPr>
          <p:cNvSpPr txBox="1">
            <a:spLocks noGrp="1"/>
          </p:cNvSpPr>
          <p:nvPr>
            <p:ph type="body" idx="1"/>
          </p:nvPr>
        </p:nvSpPr>
        <p:spPr>
          <a:xfrm>
            <a:off x="685800" y="5036651"/>
            <a:ext cx="5486400" cy="35865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3" name="Google Shape;343;g22a1c454a81_0_597:notes">
            <a:extLst>
              <a:ext uri="{FF2B5EF4-FFF2-40B4-BE49-F238E27FC236}">
                <a16:creationId xmlns:a16="http://schemas.microsoft.com/office/drawing/2014/main" id="{27D95636-964C-EE37-F72F-A4C57AFEEE74}"/>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8</a:t>
            </a:fld>
            <a:endParaRPr kumimoji="0"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88395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0"/>
        <p:cNvGrpSpPr/>
        <p:nvPr/>
      </p:nvGrpSpPr>
      <p:grpSpPr>
        <a:xfrm>
          <a:off x="0" y="0"/>
          <a:ext cx="0" cy="0"/>
          <a:chOff x="0" y="0"/>
          <a:chExt cx="0" cy="0"/>
        </a:xfrm>
      </p:grpSpPr>
      <p:sp>
        <p:nvSpPr>
          <p:cNvPr id="341" name="Google Shape;341;g22a1c454a81_0_5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2" name="Google Shape;342;g22a1c454a81_0_597:notes"/>
          <p:cNvSpPr txBox="1">
            <a:spLocks noGrp="1"/>
          </p:cNvSpPr>
          <p:nvPr>
            <p:ph type="body" idx="1"/>
          </p:nvPr>
        </p:nvSpPr>
        <p:spPr>
          <a:xfrm>
            <a:off x="685800" y="5036651"/>
            <a:ext cx="5486400" cy="35865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3" name="Google Shape;343;g22a1c454a81_0_597: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
              <a:t>11</a:t>
            </a:fld>
            <a:endParaRPr/>
          </a:p>
        </p:txBody>
      </p:sp>
    </p:spTree>
    <p:extLst>
      <p:ext uri="{BB962C8B-B14F-4D97-AF65-F5344CB8AC3E}">
        <p14:creationId xmlns:p14="http://schemas.microsoft.com/office/powerpoint/2010/main" val="172654494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1.xml"/><Relationship Id="rId5" Type="http://schemas.openxmlformats.org/officeDocument/2006/relationships/tags" Target="../tags/tag25.xm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72.xml"/><Relationship Id="rId7" Type="http://schemas.openxmlformats.org/officeDocument/2006/relationships/oleObject" Target="../embeddings/oleObject2.bin"/><Relationship Id="rId2" Type="http://schemas.openxmlformats.org/officeDocument/2006/relationships/tags" Target="../tags/tag471.xml"/><Relationship Id="rId1" Type="http://schemas.openxmlformats.org/officeDocument/2006/relationships/tags" Target="../tags/tag470.xml"/><Relationship Id="rId6" Type="http://schemas.openxmlformats.org/officeDocument/2006/relationships/slideMaster" Target="../slideMasters/slideMaster9.xml"/><Relationship Id="rId5" Type="http://schemas.openxmlformats.org/officeDocument/2006/relationships/tags" Target="../tags/tag474.xml"/><Relationship Id="rId10" Type="http://schemas.openxmlformats.org/officeDocument/2006/relationships/image" Target="../media/image5.png"/><Relationship Id="rId4" Type="http://schemas.openxmlformats.org/officeDocument/2006/relationships/tags" Target="../tags/tag473.xml"/><Relationship Id="rId9" Type="http://schemas.openxmlformats.org/officeDocument/2006/relationships/image" Target="../media/image4.png"/></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77.xml"/><Relationship Id="rId7" Type="http://schemas.openxmlformats.org/officeDocument/2006/relationships/oleObject" Target="../embeddings/oleObject2.bin"/><Relationship Id="rId2" Type="http://schemas.openxmlformats.org/officeDocument/2006/relationships/tags" Target="../tags/tag476.xml"/><Relationship Id="rId1" Type="http://schemas.openxmlformats.org/officeDocument/2006/relationships/tags" Target="../tags/tag475.xml"/><Relationship Id="rId6" Type="http://schemas.openxmlformats.org/officeDocument/2006/relationships/slideMaster" Target="../slideMasters/slideMaster9.xml"/><Relationship Id="rId5" Type="http://schemas.openxmlformats.org/officeDocument/2006/relationships/tags" Target="../tags/tag479.xml"/><Relationship Id="rId4" Type="http://schemas.openxmlformats.org/officeDocument/2006/relationships/tags" Target="../tags/tag478.xml"/><Relationship Id="rId9" Type="http://schemas.openxmlformats.org/officeDocument/2006/relationships/image" Target="../media/image5.png"/></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482.xml"/><Relationship Id="rId7" Type="http://schemas.openxmlformats.org/officeDocument/2006/relationships/image" Target="../media/image1.emf"/><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oleObject" Target="../embeddings/oleObject3.bin"/><Relationship Id="rId5" Type="http://schemas.openxmlformats.org/officeDocument/2006/relationships/slideMaster" Target="../slideMasters/slideMaster9.xml"/><Relationship Id="rId4" Type="http://schemas.openxmlformats.org/officeDocument/2006/relationships/tags" Target="../tags/tag483.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486.xml"/><Relationship Id="rId7" Type="http://schemas.openxmlformats.org/officeDocument/2006/relationships/image" Target="../media/image1.emf"/><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oleObject" Target="../embeddings/oleObject3.bin"/><Relationship Id="rId5" Type="http://schemas.openxmlformats.org/officeDocument/2006/relationships/slideMaster" Target="../slideMasters/slideMaster9.xml"/><Relationship Id="rId4" Type="http://schemas.openxmlformats.org/officeDocument/2006/relationships/tags" Target="../tags/tag487.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490.xml"/><Relationship Id="rId7" Type="http://schemas.openxmlformats.org/officeDocument/2006/relationships/image" Target="../media/image1.emf"/><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oleObject" Target="../embeddings/oleObject3.bin"/><Relationship Id="rId5" Type="http://schemas.openxmlformats.org/officeDocument/2006/relationships/slideMaster" Target="../slideMasters/slideMaster9.xml"/><Relationship Id="rId4" Type="http://schemas.openxmlformats.org/officeDocument/2006/relationships/tags" Target="../tags/tag491.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494.xml"/><Relationship Id="rId7" Type="http://schemas.openxmlformats.org/officeDocument/2006/relationships/image" Target="../media/image1.emf"/><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oleObject" Target="../embeddings/oleObject3.bin"/><Relationship Id="rId5" Type="http://schemas.openxmlformats.org/officeDocument/2006/relationships/slideMaster" Target="../slideMasters/slideMaster9.xml"/><Relationship Id="rId4" Type="http://schemas.openxmlformats.org/officeDocument/2006/relationships/tags" Target="../tags/tag495.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98.xml"/><Relationship Id="rId7" Type="http://schemas.openxmlformats.org/officeDocument/2006/relationships/image" Target="../media/image5.png"/><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52.xml"/><Relationship Id="rId7"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 Id="rId9"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501.xml"/><Relationship Id="rId7" Type="http://schemas.openxmlformats.org/officeDocument/2006/relationships/slideMaster" Target="../slideMasters/slideMaster9.xml"/><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tags" Target="../tags/tag504.xml"/><Relationship Id="rId5" Type="http://schemas.openxmlformats.org/officeDocument/2006/relationships/tags" Target="../tags/tag503.xml"/><Relationship Id="rId4" Type="http://schemas.openxmlformats.org/officeDocument/2006/relationships/tags" Target="../tags/tag502.xml"/><Relationship Id="rId9"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07.xml"/><Relationship Id="rId7" Type="http://schemas.openxmlformats.org/officeDocument/2006/relationships/slideMaster" Target="../slideMasters/slideMaster9.xml"/><Relationship Id="rId2" Type="http://schemas.openxmlformats.org/officeDocument/2006/relationships/tags" Target="../tags/tag506.xml"/><Relationship Id="rId1" Type="http://schemas.openxmlformats.org/officeDocument/2006/relationships/tags" Target="../tags/tag505.xml"/><Relationship Id="rId6" Type="http://schemas.openxmlformats.org/officeDocument/2006/relationships/tags" Target="../tags/tag510.xml"/><Relationship Id="rId5" Type="http://schemas.openxmlformats.org/officeDocument/2006/relationships/tags" Target="../tags/tag509.xml"/><Relationship Id="rId4" Type="http://schemas.openxmlformats.org/officeDocument/2006/relationships/tags" Target="../tags/tag508.xml"/><Relationship Id="rId9"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8.xml"/><Relationship Id="rId7"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5" Type="http://schemas.openxmlformats.org/officeDocument/2006/relationships/tags" Target="../tags/tag60.xml"/><Relationship Id="rId4" Type="http://schemas.openxmlformats.org/officeDocument/2006/relationships/tags" Target="../tags/tag59.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4.xml"/><Relationship Id="rId7" Type="http://schemas.openxmlformats.org/officeDocument/2006/relationships/oleObject" Target="../embeddings/oleObject2.bin"/><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slideMaster" Target="../slideMasters/slideMaster2.xml"/><Relationship Id="rId5" Type="http://schemas.openxmlformats.org/officeDocument/2006/relationships/tags" Target="../tags/tag86.xml"/><Relationship Id="rId10" Type="http://schemas.microsoft.com/office/2007/relationships/hdphoto" Target="../media/hdphoto1.wdp"/><Relationship Id="rId4" Type="http://schemas.openxmlformats.org/officeDocument/2006/relationships/tags" Target="../tags/tag85.xml"/><Relationship Id="rId9"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89.xml"/><Relationship Id="rId7"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95.xml"/><Relationship Id="rId7"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5" Type="http://schemas.openxmlformats.org/officeDocument/2006/relationships/tags" Target="../tags/tag97.xml"/><Relationship Id="rId4" Type="http://schemas.openxmlformats.org/officeDocument/2006/relationships/tags" Target="../tags/tag96.xml"/><Relationship Id="rId9"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01.xml"/><Relationship Id="rId7"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 Id="rId9"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07.xml"/><Relationship Id="rId7"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9.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image" Target="../media/image8.png"/><Relationship Id="rId5" Type="http://schemas.openxmlformats.org/officeDocument/2006/relationships/tags" Target="../tags/tag115.xml"/><Relationship Id="rId10" Type="http://schemas.openxmlformats.org/officeDocument/2006/relationships/image" Target="../media/image3.emf"/><Relationship Id="rId4" Type="http://schemas.openxmlformats.org/officeDocument/2006/relationships/tags" Target="../tags/tag114.xml"/><Relationship Id="rId9"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xml"/><Relationship Id="rId7" Type="http://schemas.openxmlformats.org/officeDocument/2006/relationships/oleObject" Target="../embeddings/oleObject2.bin"/><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image" Target="../media/image5.png"/><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8.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1.emf"/><Relationship Id="rId5" Type="http://schemas.openxmlformats.org/officeDocument/2006/relationships/tags" Target="../tags/tag122.xml"/><Relationship Id="rId10" Type="http://schemas.openxmlformats.org/officeDocument/2006/relationships/oleObject" Target="../embeddings/oleObject9.bin"/><Relationship Id="rId4" Type="http://schemas.openxmlformats.org/officeDocument/2006/relationships/tags" Target="../tags/tag121.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5.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8.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image" Target="../media/image1.emf"/><Relationship Id="rId5" Type="http://schemas.openxmlformats.org/officeDocument/2006/relationships/tags" Target="../tags/tag130.xml"/><Relationship Id="rId10" Type="http://schemas.openxmlformats.org/officeDocument/2006/relationships/oleObject" Target="../embeddings/oleObject10.bin"/><Relationship Id="rId4" Type="http://schemas.openxmlformats.org/officeDocument/2006/relationships/tags" Target="../tags/tag129.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8.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1.emf"/><Relationship Id="rId5" Type="http://schemas.openxmlformats.org/officeDocument/2006/relationships/tags" Target="../tags/tag138.xml"/><Relationship Id="rId10" Type="http://schemas.openxmlformats.org/officeDocument/2006/relationships/oleObject" Target="../embeddings/oleObject11.bin"/><Relationship Id="rId4" Type="http://schemas.openxmlformats.org/officeDocument/2006/relationships/tags" Target="../tags/tag137.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image" Target="../media/image5.png"/><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8.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10.emf"/><Relationship Id="rId5" Type="http://schemas.openxmlformats.org/officeDocument/2006/relationships/tags" Target="../tags/tag146.xml"/><Relationship Id="rId10" Type="http://schemas.openxmlformats.org/officeDocument/2006/relationships/oleObject" Target="../embeddings/oleObject12.bin"/><Relationship Id="rId4" Type="http://schemas.openxmlformats.org/officeDocument/2006/relationships/tags" Target="../tags/tag145.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8.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image" Target="../media/image1.emf"/><Relationship Id="rId5" Type="http://schemas.openxmlformats.org/officeDocument/2006/relationships/tags" Target="../tags/tag154.xml"/><Relationship Id="rId10" Type="http://schemas.openxmlformats.org/officeDocument/2006/relationships/oleObject" Target="../embeddings/oleObject13.bin"/><Relationship Id="rId4" Type="http://schemas.openxmlformats.org/officeDocument/2006/relationships/tags" Target="../tags/tag153.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60.xml"/><Relationship Id="rId7"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5" Type="http://schemas.openxmlformats.org/officeDocument/2006/relationships/tags" Target="../tags/tag162.xml"/><Relationship Id="rId10" Type="http://schemas.openxmlformats.org/officeDocument/2006/relationships/image" Target="../media/image5.png"/><Relationship Id="rId4" Type="http://schemas.openxmlformats.org/officeDocument/2006/relationships/tags" Target="../tags/tag161.xml"/><Relationship Id="rId9"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66.xml"/><Relationship Id="rId7" Type="http://schemas.openxmlformats.org/officeDocument/2006/relationships/image" Target="../media/image3.emf"/><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16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3.emf"/><Relationship Id="rId5" Type="http://schemas.openxmlformats.org/officeDocument/2006/relationships/oleObject" Target="../embeddings/oleObject16.bin"/><Relationship Id="rId4" Type="http://schemas.openxmlformats.org/officeDocument/2006/relationships/image" Target="../media/image12.png"/></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tags" Target="../tags/tag183.xml"/><Relationship Id="rId2" Type="http://schemas.openxmlformats.org/officeDocument/2006/relationships/tags" Target="../tags/tag173.xml"/><Relationship Id="rId16" Type="http://schemas.openxmlformats.org/officeDocument/2006/relationships/image" Target="../media/image1.emf"/><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tags" Target="../tags/tag182.xml"/><Relationship Id="rId5" Type="http://schemas.openxmlformats.org/officeDocument/2006/relationships/tags" Target="../tags/tag176.xml"/><Relationship Id="rId15" Type="http://schemas.openxmlformats.org/officeDocument/2006/relationships/oleObject" Target="../embeddings/oleObject17.bin"/><Relationship Id="rId10" Type="http://schemas.openxmlformats.org/officeDocument/2006/relationships/tags" Target="../tags/tag181.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7.xml"/><Relationship Id="rId7" Type="http://schemas.openxmlformats.org/officeDocument/2006/relationships/tags" Target="../tags/tag191.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5" Type="http://schemas.openxmlformats.org/officeDocument/2006/relationships/tags" Target="../tags/tag189.xml"/><Relationship Id="rId10" Type="http://schemas.openxmlformats.org/officeDocument/2006/relationships/image" Target="../media/image1.emf"/><Relationship Id="rId4" Type="http://schemas.openxmlformats.org/officeDocument/2006/relationships/tags" Target="../tags/tag188.xml"/><Relationship Id="rId9" Type="http://schemas.openxmlformats.org/officeDocument/2006/relationships/oleObject" Target="../embeddings/oleObject18.bin"/></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4.xml"/><Relationship Id="rId7" Type="http://schemas.openxmlformats.org/officeDocument/2006/relationships/tags" Target="../tags/tag19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5" Type="http://schemas.openxmlformats.org/officeDocument/2006/relationships/tags" Target="../tags/tag196.xml"/><Relationship Id="rId10" Type="http://schemas.openxmlformats.org/officeDocument/2006/relationships/image" Target="../media/image1.emf"/><Relationship Id="rId4" Type="http://schemas.openxmlformats.org/officeDocument/2006/relationships/tags" Target="../tags/tag195.xml"/><Relationship Id="rId9" Type="http://schemas.openxmlformats.org/officeDocument/2006/relationships/oleObject" Target="../embeddings/oleObject19.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0.xml"/><Relationship Id="rId7" Type="http://schemas.openxmlformats.org/officeDocument/2006/relationships/oleObject" Target="../embeddings/oleObject2.bin"/><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slideMaster" Target="../slideMasters/slideMaster3.xml"/><Relationship Id="rId5" Type="http://schemas.openxmlformats.org/officeDocument/2006/relationships/tags" Target="../tags/tag222.xml"/><Relationship Id="rId10" Type="http://schemas.openxmlformats.org/officeDocument/2006/relationships/image" Target="../media/image5.png"/><Relationship Id="rId4" Type="http://schemas.openxmlformats.org/officeDocument/2006/relationships/tags" Target="../tags/tag221.xml"/><Relationship Id="rId9"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5.xml"/><Relationship Id="rId7" Type="http://schemas.openxmlformats.org/officeDocument/2006/relationships/oleObject" Target="../embeddings/oleObject2.bin"/><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slideMaster" Target="../slideMasters/slideMaster3.xml"/><Relationship Id="rId5" Type="http://schemas.openxmlformats.org/officeDocument/2006/relationships/tags" Target="../tags/tag227.xml"/><Relationship Id="rId4" Type="http://schemas.openxmlformats.org/officeDocument/2006/relationships/tags" Target="../tags/tag226.xml"/><Relationship Id="rId9"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emf"/><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3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emf"/><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35.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emf"/><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39.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4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5.png"/><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8.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49.xml"/><Relationship Id="rId7" Type="http://schemas.openxmlformats.org/officeDocument/2006/relationships/slideMaster" Target="../slideMasters/slideMaster3.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tags" Target="../tags/tag252.xml"/><Relationship Id="rId5" Type="http://schemas.openxmlformats.org/officeDocument/2006/relationships/tags" Target="../tags/tag251.xml"/><Relationship Id="rId4" Type="http://schemas.openxmlformats.org/officeDocument/2006/relationships/tags" Target="../tags/tag250.xml"/><Relationship Id="rId9"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4.xml"/><Relationship Id="rId7" Type="http://schemas.openxmlformats.org/officeDocument/2006/relationships/oleObject" Target="../embeddings/oleObject2.bin"/><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slideMaster" Target="../slideMasters/slideMaster4.xml"/><Relationship Id="rId5" Type="http://schemas.openxmlformats.org/officeDocument/2006/relationships/tags" Target="../tags/tag276.xml"/><Relationship Id="rId10" Type="http://schemas.openxmlformats.org/officeDocument/2006/relationships/image" Target="../media/image5.png"/><Relationship Id="rId4" Type="http://schemas.openxmlformats.org/officeDocument/2006/relationships/tags" Target="../tags/tag275.xml"/><Relationship Id="rId9"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9.xml"/><Relationship Id="rId7" Type="http://schemas.openxmlformats.org/officeDocument/2006/relationships/oleObject" Target="../embeddings/oleObject2.bin"/><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slideMaster" Target="../slideMasters/slideMaster4.xml"/><Relationship Id="rId5" Type="http://schemas.openxmlformats.org/officeDocument/2006/relationships/tags" Target="../tags/tag281.xml"/><Relationship Id="rId4" Type="http://schemas.openxmlformats.org/officeDocument/2006/relationships/tags" Target="../tags/tag280.xml"/><Relationship Id="rId9"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84.xml"/><Relationship Id="rId7" Type="http://schemas.openxmlformats.org/officeDocument/2006/relationships/image" Target="../media/image1.emf"/><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8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image" Target="../media/image1.emf"/><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89.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image" Target="../media/image1.emf"/><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9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296.xml"/><Relationship Id="rId7" Type="http://schemas.openxmlformats.org/officeDocument/2006/relationships/image" Target="../media/image1.emf"/><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97.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00.xml"/><Relationship Id="rId7" Type="http://schemas.openxmlformats.org/officeDocument/2006/relationships/image" Target="../media/image5.png"/><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22.xml"/><Relationship Id="rId7" Type="http://schemas.openxmlformats.org/officeDocument/2006/relationships/oleObject" Target="../embeddings/oleObject2.bin"/><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slideMaster" Target="../slideMasters/slideMaster5.xml"/><Relationship Id="rId5" Type="http://schemas.openxmlformats.org/officeDocument/2006/relationships/tags" Target="../tags/tag324.xml"/><Relationship Id="rId10" Type="http://schemas.openxmlformats.org/officeDocument/2006/relationships/image" Target="../media/image5.png"/><Relationship Id="rId4" Type="http://schemas.openxmlformats.org/officeDocument/2006/relationships/tags" Target="../tags/tag323.xml"/><Relationship Id="rId9" Type="http://schemas.openxmlformats.org/officeDocument/2006/relationships/image" Target="../media/image4.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27.xml"/><Relationship Id="rId7" Type="http://schemas.openxmlformats.org/officeDocument/2006/relationships/oleObject" Target="../embeddings/oleObject2.bin"/><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slideMaster" Target="../slideMasters/slideMaster5.xml"/><Relationship Id="rId5" Type="http://schemas.openxmlformats.org/officeDocument/2006/relationships/tags" Target="../tags/tag329.xml"/><Relationship Id="rId4" Type="http://schemas.openxmlformats.org/officeDocument/2006/relationships/tags" Target="../tags/tag328.xml"/><Relationship Id="rId9"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332.xml"/><Relationship Id="rId7" Type="http://schemas.openxmlformats.org/officeDocument/2006/relationships/image" Target="../media/image1.emf"/><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3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336.xml"/><Relationship Id="rId7" Type="http://schemas.openxmlformats.org/officeDocument/2006/relationships/image" Target="../media/image1.emf"/><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37.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40.xml"/><Relationship Id="rId7" Type="http://schemas.openxmlformats.org/officeDocument/2006/relationships/image" Target="../media/image1.emf"/><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4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344.xml"/><Relationship Id="rId7" Type="http://schemas.openxmlformats.org/officeDocument/2006/relationships/image" Target="../media/image1.emf"/><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45.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5.png"/><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51.xml"/><Relationship Id="rId7" Type="http://schemas.openxmlformats.org/officeDocument/2006/relationships/slideMaster" Target="../slideMasters/slideMaster5.xml"/><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tags" Target="../tags/tag354.xml"/><Relationship Id="rId5" Type="http://schemas.openxmlformats.org/officeDocument/2006/relationships/tags" Target="../tags/tag353.xml"/><Relationship Id="rId4" Type="http://schemas.openxmlformats.org/officeDocument/2006/relationships/tags" Target="../tags/tag352.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76.xml"/><Relationship Id="rId7" Type="http://schemas.openxmlformats.org/officeDocument/2006/relationships/oleObject" Target="../embeddings/oleObject2.bin"/><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slideMaster" Target="../slideMasters/slideMaster6.xml"/><Relationship Id="rId5" Type="http://schemas.openxmlformats.org/officeDocument/2006/relationships/tags" Target="../tags/tag378.xml"/><Relationship Id="rId10" Type="http://schemas.openxmlformats.org/officeDocument/2006/relationships/image" Target="../media/image5.png"/><Relationship Id="rId4" Type="http://schemas.openxmlformats.org/officeDocument/2006/relationships/tags" Target="../tags/tag377.xml"/><Relationship Id="rId9" Type="http://schemas.openxmlformats.org/officeDocument/2006/relationships/image" Target="../media/image4.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81.xml"/><Relationship Id="rId7" Type="http://schemas.openxmlformats.org/officeDocument/2006/relationships/oleObject" Target="../embeddings/oleObject2.bin"/><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slideMaster" Target="../slideMasters/slideMaster6.xml"/><Relationship Id="rId5" Type="http://schemas.openxmlformats.org/officeDocument/2006/relationships/tags" Target="../tags/tag383.xml"/><Relationship Id="rId4" Type="http://schemas.openxmlformats.org/officeDocument/2006/relationships/tags" Target="../tags/tag382.xml"/><Relationship Id="rId9"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386.xml"/><Relationship Id="rId7" Type="http://schemas.openxmlformats.org/officeDocument/2006/relationships/image" Target="../media/image1.emf"/><Relationship Id="rId2" Type="http://schemas.openxmlformats.org/officeDocument/2006/relationships/tags" Target="../tags/tag385.xml"/><Relationship Id="rId1" Type="http://schemas.openxmlformats.org/officeDocument/2006/relationships/tags" Target="../tags/tag384.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387.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390.xml"/><Relationship Id="rId7" Type="http://schemas.openxmlformats.org/officeDocument/2006/relationships/image" Target="../media/image1.emf"/><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391.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394.xml"/><Relationship Id="rId7" Type="http://schemas.openxmlformats.org/officeDocument/2006/relationships/image" Target="../media/image1.emf"/><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395.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398.xml"/><Relationship Id="rId7" Type="http://schemas.openxmlformats.org/officeDocument/2006/relationships/image" Target="../media/image1.emf"/><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399.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402.xml"/><Relationship Id="rId7" Type="http://schemas.openxmlformats.org/officeDocument/2006/relationships/image" Target="../media/image5.png"/><Relationship Id="rId2" Type="http://schemas.openxmlformats.org/officeDocument/2006/relationships/tags" Target="../tags/tag401.xml"/><Relationship Id="rId1" Type="http://schemas.openxmlformats.org/officeDocument/2006/relationships/tags" Target="../tags/tag400.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24.xml"/><Relationship Id="rId7" Type="http://schemas.openxmlformats.org/officeDocument/2006/relationships/oleObject" Target="../embeddings/oleObject2.bin"/><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slideMaster" Target="../slideMasters/slideMaster8.xml"/><Relationship Id="rId5" Type="http://schemas.openxmlformats.org/officeDocument/2006/relationships/tags" Target="../tags/tag426.xml"/><Relationship Id="rId10" Type="http://schemas.openxmlformats.org/officeDocument/2006/relationships/image" Target="../media/image5.png"/><Relationship Id="rId4" Type="http://schemas.openxmlformats.org/officeDocument/2006/relationships/tags" Target="../tags/tag425.xml"/><Relationship Id="rId9" Type="http://schemas.openxmlformats.org/officeDocument/2006/relationships/image" Target="../media/image4.png"/></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29.xml"/><Relationship Id="rId7" Type="http://schemas.openxmlformats.org/officeDocument/2006/relationships/oleObject" Target="../embeddings/oleObject2.bin"/><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slideMaster" Target="../slideMasters/slideMaster8.xml"/><Relationship Id="rId5" Type="http://schemas.openxmlformats.org/officeDocument/2006/relationships/tags" Target="../tags/tag431.xml"/><Relationship Id="rId4" Type="http://schemas.openxmlformats.org/officeDocument/2006/relationships/tags" Target="../tags/tag430.xml"/><Relationship Id="rId9" Type="http://schemas.openxmlformats.org/officeDocument/2006/relationships/image" Target="../media/image5.png"/></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434.xml"/><Relationship Id="rId7" Type="http://schemas.openxmlformats.org/officeDocument/2006/relationships/image" Target="../media/image1.emf"/><Relationship Id="rId2" Type="http://schemas.openxmlformats.org/officeDocument/2006/relationships/tags" Target="../tags/tag433.xml"/><Relationship Id="rId1" Type="http://schemas.openxmlformats.org/officeDocument/2006/relationships/tags" Target="../tags/tag432.xml"/><Relationship Id="rId6" Type="http://schemas.openxmlformats.org/officeDocument/2006/relationships/oleObject" Target="../embeddings/oleObject3.bin"/><Relationship Id="rId5" Type="http://schemas.openxmlformats.org/officeDocument/2006/relationships/slideMaster" Target="../slideMasters/slideMaster8.xml"/><Relationship Id="rId4" Type="http://schemas.openxmlformats.org/officeDocument/2006/relationships/tags" Target="../tags/tag435.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438.xml"/><Relationship Id="rId7" Type="http://schemas.openxmlformats.org/officeDocument/2006/relationships/image" Target="../media/image1.emf"/><Relationship Id="rId2" Type="http://schemas.openxmlformats.org/officeDocument/2006/relationships/tags" Target="../tags/tag437.xml"/><Relationship Id="rId1" Type="http://schemas.openxmlformats.org/officeDocument/2006/relationships/tags" Target="../tags/tag436.xml"/><Relationship Id="rId6" Type="http://schemas.openxmlformats.org/officeDocument/2006/relationships/oleObject" Target="../embeddings/oleObject3.bin"/><Relationship Id="rId5" Type="http://schemas.openxmlformats.org/officeDocument/2006/relationships/slideMaster" Target="../slideMasters/slideMaster8.xml"/><Relationship Id="rId4" Type="http://schemas.openxmlformats.org/officeDocument/2006/relationships/tags" Target="../tags/tag439.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442.xml"/><Relationship Id="rId7" Type="http://schemas.openxmlformats.org/officeDocument/2006/relationships/image" Target="../media/image1.emf"/><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oleObject" Target="../embeddings/oleObject3.bin"/><Relationship Id="rId5" Type="http://schemas.openxmlformats.org/officeDocument/2006/relationships/slideMaster" Target="../slideMasters/slideMaster8.xml"/><Relationship Id="rId4" Type="http://schemas.openxmlformats.org/officeDocument/2006/relationships/tags" Target="../tags/tag443.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46.xml"/><Relationship Id="rId7" Type="http://schemas.openxmlformats.org/officeDocument/2006/relationships/image" Target="../media/image1.emf"/><Relationship Id="rId2" Type="http://schemas.openxmlformats.org/officeDocument/2006/relationships/tags" Target="../tags/tag445.xml"/><Relationship Id="rId1" Type="http://schemas.openxmlformats.org/officeDocument/2006/relationships/tags" Target="../tags/tag444.xml"/><Relationship Id="rId6" Type="http://schemas.openxmlformats.org/officeDocument/2006/relationships/oleObject" Target="../embeddings/oleObject3.bin"/><Relationship Id="rId5" Type="http://schemas.openxmlformats.org/officeDocument/2006/relationships/slideMaster" Target="../slideMasters/slideMaster8.xml"/><Relationship Id="rId4" Type="http://schemas.openxmlformats.org/officeDocument/2006/relationships/tags" Target="../tags/tag447.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50.xml"/><Relationship Id="rId7" Type="http://schemas.openxmlformats.org/officeDocument/2006/relationships/image" Target="../media/image5.png"/><Relationship Id="rId2" Type="http://schemas.openxmlformats.org/officeDocument/2006/relationships/tags" Target="../tags/tag449.xml"/><Relationship Id="rId1" Type="http://schemas.openxmlformats.org/officeDocument/2006/relationships/tags" Target="../tags/tag448.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E8B3260-D7C2-AAD5-EBA6-77A7F25A16F2}"/>
              </a:ext>
            </a:extLst>
          </p:cNvPr>
          <p:cNvSpPr/>
          <p:nvPr userDrawn="1"/>
        </p:nvSpPr>
        <p:spPr>
          <a:xfrm>
            <a:off x="0" y="0"/>
            <a:ext cx="12192000" cy="893268"/>
          </a:xfrm>
          <a:prstGeom prst="rect">
            <a:avLst/>
          </a:prstGeom>
          <a:solidFill>
            <a:srgbClr val="0000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4">
            <a:extLst>
              <a:ext uri="{FF2B5EF4-FFF2-40B4-BE49-F238E27FC236}">
                <a16:creationId xmlns:a16="http://schemas.microsoft.com/office/drawing/2014/main" id="{E6DA1D4D-C937-74FC-CB6F-2C83DBF34ECD}"/>
              </a:ext>
            </a:extLst>
          </p:cNvPr>
          <p:cNvSpPr>
            <a:spLocks noGrp="1"/>
          </p:cNvSpPr>
          <p:nvPr>
            <p:ph type="title"/>
          </p:nvPr>
        </p:nvSpPr>
        <p:spPr>
          <a:xfrm>
            <a:off x="139700" y="121196"/>
            <a:ext cx="10515600" cy="650875"/>
          </a:xfrm>
          <a:prstGeom prst="rect">
            <a:avLst/>
          </a:prstGeom>
        </p:spPr>
        <p:txBody>
          <a:bodyPr anchor="ctr"/>
          <a:lstStyle>
            <a:lvl1pPr>
              <a:defRPr sz="2800">
                <a:solidFill>
                  <a:schemeClr val="bg1"/>
                </a:solidFill>
              </a:defRPr>
            </a:lvl1pPr>
          </a:lstStyle>
          <a:p>
            <a:r>
              <a:rPr lang="en-US"/>
              <a:t>Click to edit Master title style</a:t>
            </a:r>
          </a:p>
        </p:txBody>
      </p:sp>
      <p:pic>
        <p:nvPicPr>
          <p:cNvPr id="8" name="Picture 7" descr="A picture containing emblem, symbol, logo, text&#10;&#10;Description automatically generated">
            <a:extLst>
              <a:ext uri="{FF2B5EF4-FFF2-40B4-BE49-F238E27FC236}">
                <a16:creationId xmlns:a16="http://schemas.microsoft.com/office/drawing/2014/main" id="{B97C1981-B491-FFEE-A683-4D1F22F89F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353" t="27963" r="22440" b="27963"/>
          <a:stretch/>
        </p:blipFill>
        <p:spPr>
          <a:xfrm>
            <a:off x="11353800" y="45291"/>
            <a:ext cx="776932" cy="802687"/>
          </a:xfrm>
          <a:prstGeom prst="rect">
            <a:avLst/>
          </a:prstGeom>
        </p:spPr>
      </p:pic>
      <p:sp>
        <p:nvSpPr>
          <p:cNvPr id="13" name="Footer Placeholder 2">
            <a:extLst>
              <a:ext uri="{FF2B5EF4-FFF2-40B4-BE49-F238E27FC236}">
                <a16:creationId xmlns:a16="http://schemas.microsoft.com/office/drawing/2014/main" id="{E5326D54-9F38-41B7-B903-1F96D0B66DF9}"/>
              </a:ext>
            </a:extLst>
          </p:cNvPr>
          <p:cNvSpPr>
            <a:spLocks noGrp="1"/>
          </p:cNvSpPr>
          <p:nvPr>
            <p:ph type="ftr" sz="quarter" idx="3"/>
          </p:nvPr>
        </p:nvSpPr>
        <p:spPr>
          <a:xfrm>
            <a:off x="4038600" y="6592389"/>
            <a:ext cx="4114800"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
        <p:nvSpPr>
          <p:cNvPr id="14" name="Slide Number Placeholder 3">
            <a:extLst>
              <a:ext uri="{FF2B5EF4-FFF2-40B4-BE49-F238E27FC236}">
                <a16:creationId xmlns:a16="http://schemas.microsoft.com/office/drawing/2014/main" id="{8066CB45-6057-9E9A-451D-1FCA957DA432}"/>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2" name="TextBox 1">
            <a:extLst>
              <a:ext uri="{FF2B5EF4-FFF2-40B4-BE49-F238E27FC236}">
                <a16:creationId xmlns:a16="http://schemas.microsoft.com/office/drawing/2014/main" id="{DFA6E9FD-D442-629F-AFB9-19B9F7EB0FC6}"/>
              </a:ext>
            </a:extLst>
          </p:cNvPr>
          <p:cNvSpPr txBox="1"/>
          <p:nvPr userDrawn="1"/>
        </p:nvSpPr>
        <p:spPr>
          <a:xfrm>
            <a:off x="4267200" y="6487437"/>
            <a:ext cx="3657600" cy="21544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Gill Sans MT" panose="020B0502020104020203" pitchFamily="34" charset="0"/>
                <a:ea typeface="+mn-ea"/>
                <a:cs typeface="+mn-cs"/>
              </a:rPr>
              <a:t>DRAFT FOR POLICY AND PROGRAM DEVELOPMENT</a:t>
            </a:r>
          </a:p>
        </p:txBody>
      </p:sp>
    </p:spTree>
    <p:extLst>
      <p:ext uri="{BB962C8B-B14F-4D97-AF65-F5344CB8AC3E}">
        <p14:creationId xmlns:p14="http://schemas.microsoft.com/office/powerpoint/2010/main" val="23710303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25625862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4191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9538801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2414537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8482612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0555832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046809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28382455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260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043"/>
            </a:lvl1pPr>
            <a:lvl2pPr marL="198721" indent="0" algn="ctr">
              <a:buNone/>
              <a:defRPr sz="869"/>
            </a:lvl2pPr>
            <a:lvl3pPr marL="397442" indent="0" algn="ctr">
              <a:buNone/>
              <a:defRPr sz="783"/>
            </a:lvl3pPr>
            <a:lvl4pPr marL="596163" indent="0" algn="ctr">
              <a:buNone/>
              <a:defRPr sz="695"/>
            </a:lvl4pPr>
            <a:lvl5pPr marL="794883" indent="0" algn="ctr">
              <a:buNone/>
              <a:defRPr sz="695"/>
            </a:lvl5pPr>
            <a:lvl6pPr marL="993604" indent="0" algn="ctr">
              <a:buNone/>
              <a:defRPr sz="695"/>
            </a:lvl6pPr>
            <a:lvl7pPr marL="1192325" indent="0" algn="ctr">
              <a:buNone/>
              <a:defRPr sz="695"/>
            </a:lvl7pPr>
            <a:lvl8pPr marL="1391046" indent="0" algn="ctr">
              <a:buNone/>
              <a:defRPr sz="695"/>
            </a:lvl8pPr>
            <a:lvl9pPr marL="1589767" indent="0" algn="ctr">
              <a:buNone/>
              <a:defRPr sz="695"/>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6325351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E8B3260-D7C2-AAD5-EBA6-77A7F25A16F2}"/>
              </a:ext>
            </a:extLst>
          </p:cNvPr>
          <p:cNvSpPr/>
          <p:nvPr userDrawn="1"/>
        </p:nvSpPr>
        <p:spPr>
          <a:xfrm>
            <a:off x="0" y="0"/>
            <a:ext cx="12192000" cy="893268"/>
          </a:xfrm>
          <a:prstGeom prst="rect">
            <a:avLst/>
          </a:prstGeom>
          <a:solidFill>
            <a:srgbClr val="0000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4">
            <a:extLst>
              <a:ext uri="{FF2B5EF4-FFF2-40B4-BE49-F238E27FC236}">
                <a16:creationId xmlns:a16="http://schemas.microsoft.com/office/drawing/2014/main" id="{E6DA1D4D-C937-74FC-CB6F-2C83DBF34ECD}"/>
              </a:ext>
            </a:extLst>
          </p:cNvPr>
          <p:cNvSpPr>
            <a:spLocks noGrp="1"/>
          </p:cNvSpPr>
          <p:nvPr>
            <p:ph type="title"/>
          </p:nvPr>
        </p:nvSpPr>
        <p:spPr>
          <a:xfrm>
            <a:off x="139700" y="121196"/>
            <a:ext cx="10515600" cy="650875"/>
          </a:xfrm>
          <a:prstGeom prst="rect">
            <a:avLst/>
          </a:prstGeom>
        </p:spPr>
        <p:txBody>
          <a:bodyPr anchor="ctr"/>
          <a:lstStyle>
            <a:lvl1pPr>
              <a:defRPr sz="2800">
                <a:solidFill>
                  <a:schemeClr val="bg1"/>
                </a:solidFill>
              </a:defRPr>
            </a:lvl1pPr>
          </a:lstStyle>
          <a:p>
            <a:r>
              <a:rPr lang="en-US"/>
              <a:t>Click to edit Master title style</a:t>
            </a:r>
          </a:p>
        </p:txBody>
      </p:sp>
      <p:pic>
        <p:nvPicPr>
          <p:cNvPr id="8" name="Picture 7" descr="A picture containing emblem, symbol, logo, text&#10;&#10;Description automatically generated">
            <a:extLst>
              <a:ext uri="{FF2B5EF4-FFF2-40B4-BE49-F238E27FC236}">
                <a16:creationId xmlns:a16="http://schemas.microsoft.com/office/drawing/2014/main" id="{B97C1981-B491-FFEE-A683-4D1F22F89FB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2353" t="27963" r="22440" b="27963"/>
          <a:stretch/>
        </p:blipFill>
        <p:spPr>
          <a:xfrm>
            <a:off x="11353800" y="45291"/>
            <a:ext cx="776932" cy="802687"/>
          </a:xfrm>
          <a:prstGeom prst="rect">
            <a:avLst/>
          </a:prstGeom>
        </p:spPr>
      </p:pic>
      <p:sp>
        <p:nvSpPr>
          <p:cNvPr id="13" name="Footer Placeholder 2">
            <a:extLst>
              <a:ext uri="{FF2B5EF4-FFF2-40B4-BE49-F238E27FC236}">
                <a16:creationId xmlns:a16="http://schemas.microsoft.com/office/drawing/2014/main" id="{E5326D54-9F38-41B7-B903-1F96D0B66DF9}"/>
              </a:ext>
            </a:extLst>
          </p:cNvPr>
          <p:cNvSpPr>
            <a:spLocks noGrp="1"/>
          </p:cNvSpPr>
          <p:nvPr>
            <p:ph type="ftr" sz="quarter" idx="3"/>
          </p:nvPr>
        </p:nvSpPr>
        <p:spPr>
          <a:xfrm>
            <a:off x="4038600" y="6592389"/>
            <a:ext cx="4114800"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
        <p:nvSpPr>
          <p:cNvPr id="14" name="Slide Number Placeholder 3">
            <a:extLst>
              <a:ext uri="{FF2B5EF4-FFF2-40B4-BE49-F238E27FC236}">
                <a16:creationId xmlns:a16="http://schemas.microsoft.com/office/drawing/2014/main" id="{8066CB45-6057-9E9A-451D-1FCA957DA432}"/>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2" name="TextBox 1">
            <a:extLst>
              <a:ext uri="{FF2B5EF4-FFF2-40B4-BE49-F238E27FC236}">
                <a16:creationId xmlns:a16="http://schemas.microsoft.com/office/drawing/2014/main" id="{DFA6E9FD-D442-629F-AFB9-19B9F7EB0FC6}"/>
              </a:ext>
            </a:extLst>
          </p:cNvPr>
          <p:cNvSpPr txBox="1"/>
          <p:nvPr userDrawn="1"/>
        </p:nvSpPr>
        <p:spPr>
          <a:xfrm>
            <a:off x="4267200" y="6487437"/>
            <a:ext cx="3657600" cy="21544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Gill Sans MT" panose="020B0502020104020203" pitchFamily="34" charset="0"/>
                <a:ea typeface="+mn-ea"/>
                <a:cs typeface="+mn-cs"/>
              </a:rPr>
              <a:t>DRAFT FOR POLICY AND PROGRAM DEVELOPMENT</a:t>
            </a:r>
          </a:p>
        </p:txBody>
      </p:sp>
    </p:spTree>
    <p:extLst>
      <p:ext uri="{BB962C8B-B14F-4D97-AF65-F5344CB8AC3E}">
        <p14:creationId xmlns:p14="http://schemas.microsoft.com/office/powerpoint/2010/main" val="920481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0774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72611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0774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54599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1299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Tree>
    <p:extLst>
      <p:ext uri="{BB962C8B-B14F-4D97-AF65-F5344CB8AC3E}">
        <p14:creationId xmlns:p14="http://schemas.microsoft.com/office/powerpoint/2010/main" val="3305571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1299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Tree>
    <p:extLst>
      <p:ext uri="{BB962C8B-B14F-4D97-AF65-F5344CB8AC3E}">
        <p14:creationId xmlns:p14="http://schemas.microsoft.com/office/powerpoint/2010/main" val="41686028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0F3DB6-C0C3-96C6-F371-F473F1C26B2A}"/>
              </a:ext>
            </a:extLst>
          </p:cNvPr>
          <p:cNvSpPr>
            <a:spLocks noGrp="1"/>
          </p:cNvSpPr>
          <p:nvPr>
            <p:ph idx="1"/>
          </p:nvPr>
        </p:nvSpPr>
        <p:spPr>
          <a:xfrm>
            <a:off x="838200" y="1222744"/>
            <a:ext cx="10515600" cy="4954219"/>
          </a:xfrm>
        </p:spPr>
        <p:txBody>
          <a:bodyPr>
            <a:normAutofit/>
          </a:bodyPr>
          <a:lstStyle>
            <a:lvl1pPr marL="228600" indent="-228600">
              <a:buFont typeface="Wingdings" panose="05000000000000000000" pitchFamily="2" charset="2"/>
              <a:buChar char="§"/>
              <a:defRPr sz="2400"/>
            </a:lvl1pPr>
            <a:lvl2pPr marL="685800" indent="-228600">
              <a:buFont typeface="Wingdings" panose="05000000000000000000" pitchFamily="2" charset="2"/>
              <a:buChar char="§"/>
              <a:defRPr sz="2400"/>
            </a:lvl2pPr>
            <a:lvl3pPr marL="1143000" indent="-228600">
              <a:buFont typeface="Wingdings" panose="05000000000000000000" pitchFamily="2" charset="2"/>
              <a:buChar char="§"/>
              <a:defRPr sz="2400"/>
            </a:lvl3pPr>
            <a:lvl4pPr marL="1600200" indent="-228600">
              <a:buFont typeface="Wingdings" panose="05000000000000000000" pitchFamily="2" charset="2"/>
              <a:buChar char="§"/>
              <a:defRPr sz="2400"/>
            </a:lvl4pPr>
            <a:lvl5pPr marL="2057400" indent="-228600">
              <a:buFont typeface="Wingdings" panose="05000000000000000000" pitchFamily="2" charset="2"/>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0B7A4E4E-E891-E345-294A-426502CA7C21}"/>
              </a:ext>
            </a:extLst>
          </p:cNvPr>
          <p:cNvSpPr>
            <a:spLocks noGrp="1"/>
          </p:cNvSpPr>
          <p:nvPr>
            <p:ph type="dt" sz="half" idx="2"/>
          </p:nvPr>
        </p:nvSpPr>
        <p:spPr>
          <a:xfrm>
            <a:off x="285307" y="6428861"/>
            <a:ext cx="2743200" cy="365125"/>
          </a:xfrm>
          <a:prstGeom prst="rect">
            <a:avLst/>
          </a:prstGeom>
        </p:spPr>
        <p:txBody>
          <a:bodyPr vert="horz" lIns="91440" tIns="45720" rIns="91440" bIns="45720" rtlCol="0" anchor="ctr"/>
          <a:lstStyle>
            <a:lvl1pPr algn="l">
              <a:defRPr sz="1200">
                <a:solidFill>
                  <a:schemeClr val="tx1">
                    <a:tint val="75000"/>
                  </a:schemeClr>
                </a:solidFill>
                <a:latin typeface="+mj-lt"/>
                <a:cs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920B2F5E-AE78-31F4-7EF0-A8868132F158}"/>
              </a:ext>
            </a:extLst>
          </p:cNvPr>
          <p:cNvSpPr>
            <a:spLocks noGrp="1"/>
          </p:cNvSpPr>
          <p:nvPr>
            <p:ph type="ftr" sz="quarter" idx="3"/>
          </p:nvPr>
        </p:nvSpPr>
        <p:spPr>
          <a:xfrm>
            <a:off x="4038600" y="642886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j-lt"/>
                <a:cs typeface="Arial" panose="020B0604020202020204" pitchFamily="34" charset="0"/>
              </a:defRPr>
            </a:lvl1pPr>
          </a:lstStyle>
          <a:p>
            <a:r>
              <a:rPr lang="en-US"/>
              <a:t>This presentation is for informational purposes only. For legal advice, please contact an attorney</a:t>
            </a:r>
          </a:p>
        </p:txBody>
      </p:sp>
      <p:sp>
        <p:nvSpPr>
          <p:cNvPr id="9" name="Slide Number Placeholder 5">
            <a:extLst>
              <a:ext uri="{FF2B5EF4-FFF2-40B4-BE49-F238E27FC236}">
                <a16:creationId xmlns:a16="http://schemas.microsoft.com/office/drawing/2014/main" id="{E125E867-CB4A-82DF-ABDE-250A38ACED74}"/>
              </a:ext>
            </a:extLst>
          </p:cNvPr>
          <p:cNvSpPr>
            <a:spLocks noGrp="1"/>
          </p:cNvSpPr>
          <p:nvPr>
            <p:ph type="sldNum" sz="quarter" idx="4"/>
          </p:nvPr>
        </p:nvSpPr>
        <p:spPr>
          <a:xfrm>
            <a:off x="9163493" y="6428861"/>
            <a:ext cx="2743200" cy="365125"/>
          </a:xfrm>
          <a:prstGeom prst="rect">
            <a:avLst/>
          </a:prstGeom>
        </p:spPr>
        <p:txBody>
          <a:bodyPr vert="horz" lIns="91440" tIns="45720" rIns="91440" bIns="45720" rtlCol="0" anchor="ctr"/>
          <a:lstStyle>
            <a:lvl1pPr algn="r">
              <a:defRPr sz="1200">
                <a:solidFill>
                  <a:schemeClr val="tx1">
                    <a:tint val="75000"/>
                  </a:schemeClr>
                </a:solidFill>
                <a:latin typeface="+mj-lt"/>
                <a:cs typeface="Arial" panose="020B0604020202020204" pitchFamily="34" charset="0"/>
              </a:defRPr>
            </a:lvl1pPr>
          </a:lstStyle>
          <a:p>
            <a:fld id="{DB694900-764E-42C1-81CD-71B9A2DA5887}" type="slidenum">
              <a:rPr lang="en-US" smtClean="0"/>
              <a:pPr/>
              <a:t>‹#›</a:t>
            </a:fld>
            <a:endParaRPr lang="en-US"/>
          </a:p>
        </p:txBody>
      </p:sp>
      <p:sp>
        <p:nvSpPr>
          <p:cNvPr id="10" name="Rectangle 9">
            <a:extLst>
              <a:ext uri="{FF2B5EF4-FFF2-40B4-BE49-F238E27FC236}">
                <a16:creationId xmlns:a16="http://schemas.microsoft.com/office/drawing/2014/main" id="{C902AB6F-4162-41D1-8C2F-98104C93E611}"/>
              </a:ext>
            </a:extLst>
          </p:cNvPr>
          <p:cNvSpPr/>
          <p:nvPr userDrawn="1"/>
        </p:nvSpPr>
        <p:spPr>
          <a:xfrm>
            <a:off x="0" y="0"/>
            <a:ext cx="12192000" cy="983848"/>
          </a:xfrm>
          <a:prstGeom prst="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D56FFC5-79F2-B7D3-4D84-A2CDE228E3DD}"/>
              </a:ext>
            </a:extLst>
          </p:cNvPr>
          <p:cNvSpPr>
            <a:spLocks noGrp="1"/>
          </p:cNvSpPr>
          <p:nvPr>
            <p:ph type="title"/>
          </p:nvPr>
        </p:nvSpPr>
        <p:spPr>
          <a:xfrm>
            <a:off x="165100" y="160533"/>
            <a:ext cx="10733272" cy="662782"/>
          </a:xfrm>
        </p:spPr>
        <p:txBody>
          <a:bodyPr>
            <a:normAutofit/>
          </a:bodyPr>
          <a:lstStyle>
            <a:lvl1pPr>
              <a:defRPr sz="3600">
                <a:solidFill>
                  <a:schemeClr val="bg1"/>
                </a:solidFill>
              </a:defRPr>
            </a:lvl1pPr>
          </a:lstStyle>
          <a:p>
            <a:r>
              <a:rPr lang="en-US"/>
              <a:t>Click to edit Master title style</a:t>
            </a:r>
          </a:p>
        </p:txBody>
      </p:sp>
      <p:pic>
        <p:nvPicPr>
          <p:cNvPr id="12" name="Picture 11" descr="A white circle with a shield and a person in a coat of arms&#10;&#10;Description automatically generated">
            <a:extLst>
              <a:ext uri="{FF2B5EF4-FFF2-40B4-BE49-F238E27FC236}">
                <a16:creationId xmlns:a16="http://schemas.microsoft.com/office/drawing/2014/main" id="{A9253236-C736-EF6E-12B7-96319D24FE2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21682" t="27903" r="22194" b="28585"/>
          <a:stretch/>
        </p:blipFill>
        <p:spPr>
          <a:xfrm>
            <a:off x="11324740" y="112274"/>
            <a:ext cx="756819" cy="759301"/>
          </a:xfrm>
          <a:prstGeom prst="rect">
            <a:avLst/>
          </a:prstGeom>
        </p:spPr>
      </p:pic>
    </p:spTree>
    <p:extLst>
      <p:ext uri="{BB962C8B-B14F-4D97-AF65-F5344CB8AC3E}">
        <p14:creationId xmlns:p14="http://schemas.microsoft.com/office/powerpoint/2010/main" val="39924284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016673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D457990-7994-46E9-A2E2-C8912830E910}"/>
              </a:ext>
            </a:extLst>
          </p:cNvPr>
          <p:cNvPicPr>
            <a:picLocks noChangeAspect="1"/>
          </p:cNvPicPr>
          <p:nvPr userDrawn="1"/>
        </p:nvPicPr>
        <p:blipFill>
          <a:blip r:embed="rId9">
            <a:extLst>
              <a:ext uri="{BEBA8EAE-BF5A-486C-A8C5-ECC9F3942E4B}">
                <a14:imgProps xmlns:a14="http://schemas.microsoft.com/office/drawing/2010/main">
                  <a14:imgLayer r:embed="rId10">
                    <a14:imgEffect>
                      <a14:brightnessContrast bright="6000"/>
                    </a14:imgEffect>
                  </a14:imgLayer>
                </a14:imgProps>
              </a:ext>
            </a:extLst>
          </a:blip>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1615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2308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4140790"/>
            <a:ext cx="6173979" cy="5078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sp>
        <p:nvSpPr>
          <p:cNvPr id="9" name="Rectangle 8">
            <a:extLst>
              <a:ext uri="{FF2B5EF4-FFF2-40B4-BE49-F238E27FC236}">
                <a16:creationId xmlns:a16="http://schemas.microsoft.com/office/drawing/2014/main" id="{1DBA015F-ACE8-453D-88B7-B7AB27B31C12}"/>
              </a:ext>
            </a:extLst>
          </p:cNvPr>
          <p:cNvSpPr/>
          <p:nvPr userDrawn="1"/>
        </p:nvSpPr>
        <p:spPr>
          <a:xfrm>
            <a:off x="20375" y="6642556"/>
            <a:ext cx="7234827" cy="184666"/>
          </a:xfrm>
          <a:prstGeom prst="rect">
            <a:avLst/>
          </a:prstGeom>
        </p:spPr>
        <p:txBody>
          <a:bodyPr wrap="square">
            <a:spAutoFit/>
          </a:bodyPr>
          <a:lstStyle/>
          <a:p>
            <a:pPr algn="ctr"/>
            <a:r>
              <a:rPr lang="en-US" sz="800">
                <a:solidFill>
                  <a:schemeClr val="tx1"/>
                </a:solidFill>
                <a:effectLst/>
                <a:latin typeface="+mn-lt"/>
              </a:rPr>
              <a:t>CONFIDENTIAL AND PROPRIETARY. ANY USE OF THIS MATERIAL WITHOUT SPECIFIC PERMISSION OF THE OWNER IS STRICTLY PROHIBITED.</a:t>
            </a:r>
          </a:p>
        </p:txBody>
      </p:sp>
    </p:spTree>
    <p:extLst>
      <p:ext uri="{BB962C8B-B14F-4D97-AF65-F5344CB8AC3E}">
        <p14:creationId xmlns:p14="http://schemas.microsoft.com/office/powerpoint/2010/main" val="39878859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0774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00875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1299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Tree>
    <p:extLst>
      <p:ext uri="{BB962C8B-B14F-4D97-AF65-F5344CB8AC3E}">
        <p14:creationId xmlns:p14="http://schemas.microsoft.com/office/powerpoint/2010/main" val="1395973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58545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a:defRPr>
                <a:ln w="6350" cap="flat">
                  <a:noFill/>
                  <a:miter lim="800000"/>
                </a:ln>
                <a:solidFill>
                  <a:schemeClr val="accent1"/>
                </a:solidFill>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211047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568701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solidFill>
                  <a:schemeClr val="accent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129527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364994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E502649F-727C-43E0-A093-71810F62A7ED}"/>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15" name="Freeform 58">
            <a:extLst>
              <a:ext uri="{FF2B5EF4-FFF2-40B4-BE49-F238E27FC236}">
                <a16:creationId xmlns:a16="http://schemas.microsoft.com/office/drawing/2014/main" id="{2B93DF85-815D-4634-B543-414FA330817E}"/>
              </a:ext>
            </a:extLst>
          </p:cNvPr>
          <p:cNvSpPr>
            <a:spLocks/>
          </p:cNvSpPr>
          <p:nvPr userDrawn="1"/>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F497D"/>
          </a:solidFill>
          <a:ln w="25400" cap="flat" cmpd="sng" algn="ctr">
            <a:solidFill>
              <a:srgbClr val="1F497D"/>
            </a:solid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alibri"/>
              <a:sym typeface="+mn-lt"/>
            </a:endParaRPr>
          </a:p>
        </p:txBody>
      </p:sp>
      <p:pic>
        <p:nvPicPr>
          <p:cNvPr id="16" name="Picture 2" descr="Image result for massachusetts seal">
            <a:extLst>
              <a:ext uri="{FF2B5EF4-FFF2-40B4-BE49-F238E27FC236}">
                <a16:creationId xmlns:a16="http://schemas.microsoft.com/office/drawing/2014/main" id="{9EBE0CB3-83A8-4233-B8F5-8E2113658212}"/>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95946"/>
            <a:ext cx="9180576" cy="383503"/>
          </a:xfrm>
          <a:prstGeom prst="rect">
            <a:avLst/>
          </a:prstGeom>
        </p:spPr>
        <p:txBody>
          <a:bodyPr vert="horz" wrap="square">
            <a:spAutoFit/>
          </a:bodyPr>
          <a:lstStyle>
            <a:lvl1pPr>
              <a:lnSpc>
                <a:spcPct val="105000"/>
              </a:lnSpc>
              <a:defRPr sz="3400">
                <a:solidFill>
                  <a:schemeClr val="bg1"/>
                </a:solidFill>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BE16D8DA-CC2E-42D7-8564-1BE976427B37}"/>
              </a:ext>
            </a:extLst>
          </p:cNvPr>
          <p:cNvSpPr/>
          <p:nvPr userDrawn="1"/>
        </p:nvSpPr>
        <p:spPr>
          <a:xfrm>
            <a:off x="554736" y="6561153"/>
            <a:ext cx="11070845"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endParaRPr lang="en-US" sz="1050">
              <a:effectLst/>
              <a:latin typeface="+mj-lt"/>
            </a:endParaRPr>
          </a:p>
        </p:txBody>
      </p:sp>
    </p:spTree>
    <p:extLst>
      <p:ext uri="{BB962C8B-B14F-4D97-AF65-F5344CB8AC3E}">
        <p14:creationId xmlns:p14="http://schemas.microsoft.com/office/powerpoint/2010/main" val="35045881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09653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solidFill>
                  <a:schemeClr val="accent1"/>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20774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305DE843-2236-413E-AF8A-D5BF00A7117D}"/>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2997824" y="0"/>
            <a:ext cx="416951" cy="6858000"/>
          </a:xfrm>
          <a:prstGeom prst="rect">
            <a:avLst/>
          </a:prstGeom>
        </p:spPr>
      </p:pic>
      <p:pic>
        <p:nvPicPr>
          <p:cNvPr id="13" name="Picture 2" descr="Seal of Massachusetts - Wikipedia">
            <a:extLst>
              <a:ext uri="{FF2B5EF4-FFF2-40B4-BE49-F238E27FC236}">
                <a16:creationId xmlns:a16="http://schemas.microsoft.com/office/drawing/2014/main" id="{553D9C71-F318-4FBA-BB78-756F8BF70FCE}"/>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90654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75658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accent1"/>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0774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35028C82-A40A-479E-A5AD-CFE48F69ABBC}"/>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3947783" y="0"/>
            <a:ext cx="416951" cy="6858000"/>
          </a:xfrm>
          <a:prstGeom prst="rect">
            <a:avLst/>
          </a:prstGeom>
        </p:spPr>
      </p:pic>
      <p:pic>
        <p:nvPicPr>
          <p:cNvPr id="12" name="Picture 2" descr="Seal of Massachusetts - Wikipedia">
            <a:extLst>
              <a:ext uri="{FF2B5EF4-FFF2-40B4-BE49-F238E27FC236}">
                <a16:creationId xmlns:a16="http://schemas.microsoft.com/office/drawing/2014/main" id="{3F42AA54-CF29-40CB-AACC-23986B71AB89}"/>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5691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41788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5065776" cy="20774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3F6A9849-7C4F-4C89-8760-17A14733BC87}"/>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5676001" y="0"/>
            <a:ext cx="416951" cy="6858000"/>
          </a:xfrm>
          <a:prstGeom prst="rect">
            <a:avLst/>
          </a:prstGeom>
        </p:spPr>
      </p:pic>
      <p:pic>
        <p:nvPicPr>
          <p:cNvPr id="12" name="Picture 2" descr="Seal of Massachusetts - Wikipedia">
            <a:extLst>
              <a:ext uri="{FF2B5EF4-FFF2-40B4-BE49-F238E27FC236}">
                <a16:creationId xmlns:a16="http://schemas.microsoft.com/office/drawing/2014/main" id="{56136504-1778-41D1-B0C3-86111FD13874}"/>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23A63799-CD6C-420E-B8AA-A9A5E16D100F}"/>
              </a:ext>
            </a:extLst>
          </p:cNvPr>
          <p:cNvSpPr/>
          <p:nvPr userDrawn="1"/>
        </p:nvSpPr>
        <p:spPr>
          <a:xfrm>
            <a:off x="1066032" y="6562677"/>
            <a:ext cx="10470156"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27222729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11748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a:defRPr>
                <a:solidFill>
                  <a:schemeClr val="accent1"/>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884725"/>
            <a:ext cx="6967728" cy="20774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63A38938-A8A3-434F-AAE4-30FD188BFABD}"/>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7413361" y="0"/>
            <a:ext cx="416951" cy="6858000"/>
          </a:xfrm>
          <a:prstGeom prst="rect">
            <a:avLst/>
          </a:prstGeom>
        </p:spPr>
      </p:pic>
      <p:pic>
        <p:nvPicPr>
          <p:cNvPr id="12" name="Picture 2" descr="Seal of Massachusetts - Wikipedia">
            <a:extLst>
              <a:ext uri="{FF2B5EF4-FFF2-40B4-BE49-F238E27FC236}">
                <a16:creationId xmlns:a16="http://schemas.microsoft.com/office/drawing/2014/main" id="{8BB4D08D-2DA2-432D-A2E7-743E65963880}"/>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83CDB49-4503-414E-9AB8-817699840778}"/>
              </a:ext>
            </a:extLst>
          </p:cNvPr>
          <p:cNvSpPr/>
          <p:nvPr userDrawn="1"/>
        </p:nvSpPr>
        <p:spPr>
          <a:xfrm>
            <a:off x="287087" y="6367948"/>
            <a:ext cx="7151256"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28106057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79821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noProof="0">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7918704" cy="20774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5C5EB99D-E81E-49A7-BDD7-746B7E0DEA1D}"/>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8364465" y="0"/>
            <a:ext cx="416951" cy="6858000"/>
          </a:xfrm>
          <a:prstGeom prst="rect">
            <a:avLst/>
          </a:prstGeom>
        </p:spPr>
      </p:pic>
      <p:pic>
        <p:nvPicPr>
          <p:cNvPr id="12" name="Picture 2" descr="Seal of Massachusetts - Wikipedia">
            <a:extLst>
              <a:ext uri="{FF2B5EF4-FFF2-40B4-BE49-F238E27FC236}">
                <a16:creationId xmlns:a16="http://schemas.microsoft.com/office/drawing/2014/main" id="{A155DBAC-AC86-498D-8B75-4B99A1A0FA19}"/>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2700975C-A254-4788-A3B1-F15069A16750}"/>
              </a:ext>
            </a:extLst>
          </p:cNvPr>
          <p:cNvSpPr/>
          <p:nvPr userDrawn="1"/>
        </p:nvSpPr>
        <p:spPr>
          <a:xfrm>
            <a:off x="571780" y="6367948"/>
            <a:ext cx="7866382"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23565848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025073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653E666-EEA8-43FC-AD86-8FF6546D3986}"/>
              </a:ext>
            </a:extLst>
          </p:cNvPr>
          <p:cNvSpPr/>
          <p:nvPr userDrawn="1"/>
        </p:nvSpPr>
        <p:spPr>
          <a:xfrm>
            <a:off x="0" y="0"/>
            <a:ext cx="12192000" cy="1259840"/>
          </a:xfrm>
          <a:prstGeom prst="rect">
            <a:avLst/>
          </a:prstGeom>
          <a:solidFill>
            <a:srgbClr val="1F497D"/>
          </a:solidFill>
          <a:ln w="25400" cap="flat" cmpd="sng" algn="ctr">
            <a:solidFill>
              <a:srgbClr val="1F497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12" name="Picture 2" descr="Seal of Massachusetts - Wikipedia">
            <a:extLst>
              <a:ext uri="{FF2B5EF4-FFF2-40B4-BE49-F238E27FC236}">
                <a16:creationId xmlns:a16="http://schemas.microsoft.com/office/drawing/2014/main" id="{A79E1297-42AC-4293-AC6B-BB117F55A3C7}"/>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1355168" y="288927"/>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0602418" cy="989512"/>
          </a:xfrm>
        </p:spPr>
        <p:txBody>
          <a:bodyPr vert="horz">
            <a:noAutofit/>
          </a:bodyPr>
          <a:lstStyle>
            <a:lvl1pPr>
              <a:defRPr>
                <a:solidFill>
                  <a:schemeClr val="bg1"/>
                </a:solidFill>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F4682B5F-AD73-4D79-9BA1-60B78C4071CA}"/>
              </a:ext>
            </a:extLst>
          </p:cNvPr>
          <p:cNvSpPr/>
          <p:nvPr userDrawn="1"/>
        </p:nvSpPr>
        <p:spPr>
          <a:xfrm>
            <a:off x="826550" y="6465557"/>
            <a:ext cx="10470154"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4368305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901606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82C81A7-B91D-4BD2-997B-7374BBF1A00A}"/>
              </a:ext>
            </a:extLst>
          </p:cNvPr>
          <p:cNvSpPr/>
          <p:nvPr userDrawn="1"/>
        </p:nvSpPr>
        <p:spPr>
          <a:xfrm>
            <a:off x="1302466" y="6454458"/>
            <a:ext cx="9518322" cy="207749"/>
          </a:xfrm>
          <a:prstGeom prst="rect">
            <a:avLst/>
          </a:prstGeom>
        </p:spPr>
        <p:txBody>
          <a:bodyPr wrap="square">
            <a:spAutoFit/>
          </a:bodyPr>
          <a:lstStyle/>
          <a:p>
            <a:pPr algn="ctr"/>
            <a:r>
              <a:rPr lang="en-US" sz="1000">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36848510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23690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A8DEF01-49B9-4334-B0B8-CE3E10A23EE1}"/>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TextBox 9">
            <a:extLst>
              <a:ext uri="{FF2B5EF4-FFF2-40B4-BE49-F238E27FC236}">
                <a16:creationId xmlns:a16="http://schemas.microsoft.com/office/drawing/2014/main" id="{4E5843A8-0E84-4C83-BAEB-E982AF657EF2}"/>
              </a:ext>
            </a:extLst>
          </p:cNvPr>
          <p:cNvSpPr txBox="1"/>
          <p:nvPr userDrawn="1"/>
        </p:nvSpPr>
        <p:spPr>
          <a:xfrm>
            <a:off x="554735" y="568851"/>
            <a:ext cx="4064000" cy="4154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3600">
                <a:solidFill>
                  <a:schemeClr val="bg2"/>
                </a:solidFill>
              </a:rPr>
              <a:t>Thank you</a:t>
            </a:r>
          </a:p>
        </p:txBody>
      </p:sp>
      <p:sp>
        <p:nvSpPr>
          <p:cNvPr id="7" name="Rectangle 6">
            <a:extLst>
              <a:ext uri="{FF2B5EF4-FFF2-40B4-BE49-F238E27FC236}">
                <a16:creationId xmlns:a16="http://schemas.microsoft.com/office/drawing/2014/main" id="{21C02818-F54A-4D86-92A2-F69F0EE2C40F}"/>
              </a:ext>
            </a:extLst>
          </p:cNvPr>
          <p:cNvSpPr/>
          <p:nvPr userDrawn="1"/>
        </p:nvSpPr>
        <p:spPr>
          <a:xfrm>
            <a:off x="4438141" y="6211669"/>
            <a:ext cx="4248659" cy="507831"/>
          </a:xfrm>
          <a:prstGeom prst="rect">
            <a:avLst/>
          </a:prstGeom>
        </p:spPr>
        <p:txBody>
          <a:bodyPr wrap="square">
            <a:spAutoFit/>
          </a:bodyPr>
          <a:lstStyle/>
          <a:p>
            <a:r>
              <a:rPr lang="en-US" sz="1200">
                <a:solidFill>
                  <a:schemeClr val="tx2"/>
                </a:solidFill>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30075669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2334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20774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228600" y="2348980"/>
            <a:ext cx="7942686" cy="369332"/>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711249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40763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5"/>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6"/>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7"/>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8"/>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1"/>
            </p:custDataLst>
          </p:nvPr>
        </p:nvSpPr>
        <p:spPr>
          <a:xfrm>
            <a:off x="7159752" y="94157"/>
            <a:ext cx="4480560" cy="92333"/>
          </a:xfrm>
        </p:spPr>
        <p:txBody>
          <a:bodyPr wrap="square"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2"/>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3"/>
            </p:custDataLst>
          </p:nvPr>
        </p:nvSpPr>
        <p:spPr>
          <a:xfrm>
            <a:off x="554736" y="903861"/>
            <a:ext cx="5065776"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3916915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89632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94157"/>
            <a:ext cx="4480560" cy="92333"/>
          </a:xfrm>
        </p:spPr>
        <p:txBody>
          <a:bodyPr wrap="square"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6076455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5762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7"/>
            </p:custDataLst>
          </p:nvPr>
        </p:nvSpPr>
        <p:spPr>
          <a:xfrm>
            <a:off x="7156704" y="104708"/>
            <a:ext cx="4480560" cy="92333"/>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496566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C66FF9-0EBE-4712-A107-7C736776C0EF}" type="slidenum">
              <a:rPr lang="en-US" smtClean="0"/>
              <a:t>‹#›</a:t>
            </a:fld>
            <a:endParaRPr lang="en-US"/>
          </a:p>
        </p:txBody>
      </p:sp>
    </p:spTree>
    <p:extLst>
      <p:ext uri="{BB962C8B-B14F-4D97-AF65-F5344CB8AC3E}">
        <p14:creationId xmlns:p14="http://schemas.microsoft.com/office/powerpoint/2010/main" val="41391904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35413826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5911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314379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87058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219591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075699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71204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464769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700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18294890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596"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13273" y="1000662"/>
            <a:ext cx="0" cy="4873925"/>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68526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108738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4481197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112102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932582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86541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3695985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andard Layou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6447986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3080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18679307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24204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266929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0457139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2185718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371969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341110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3430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July ">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6" name="Text Placeholder 21">
            <a:extLst>
              <a:ext uri="{FF2B5EF4-FFF2-40B4-BE49-F238E27FC236}">
                <a16:creationId xmlns:a16="http://schemas.microsoft.com/office/drawing/2014/main" id="{4297553A-1FAA-308D-A08D-417A8B25827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B3E6B342-1BF1-8B66-C709-2A6EDF3C0630}"/>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CA31B322-EBD6-1B49-08C6-B6B7C412F0FE}"/>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6A9CBE06-300C-2F5F-2D71-AFDF6CA5EC79}"/>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89B02C4F-E815-FE97-AA36-557F6679868E}"/>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CBB198E9-7F3D-D817-8BEA-935961CDA921}"/>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
            <a:extLst>
              <a:ext uri="{FF2B5EF4-FFF2-40B4-BE49-F238E27FC236}">
                <a16:creationId xmlns:a16="http://schemas.microsoft.com/office/drawing/2014/main" id="{49DA29E8-B176-5686-C89E-79AE79327126}"/>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9AD1A270-CD0B-273B-EEFC-CBA71C95993A}"/>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6CE0EAD4-B343-4409-BFFF-B511CA7A5122}"/>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D37653EC-C7A1-8414-1449-CBD18E2D90BE}"/>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1C206D3C-6975-503A-5A6C-E66AC9B23831}"/>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96AC0B56-614E-C447-DEED-64F69EB4521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1">
            <a:extLst>
              <a:ext uri="{FF2B5EF4-FFF2-40B4-BE49-F238E27FC236}">
                <a16:creationId xmlns:a16="http://schemas.microsoft.com/office/drawing/2014/main" id="{670CCB0A-9268-2C56-A74C-98A469B9BA77}"/>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8323FC67-BA61-BDFB-08F0-39EA39486153}"/>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F7BA4904-9E3A-112B-5BBE-E771C723F02B}"/>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C532AD1A-F2F5-A878-272D-9D6A23647269}"/>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5ABDE29A-A698-5444-EA80-C52BD9DC7D6F}"/>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DEA20E90-0A62-DC46-D1CC-8469C4339DAE}"/>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
            <a:extLst>
              <a:ext uri="{FF2B5EF4-FFF2-40B4-BE49-F238E27FC236}">
                <a16:creationId xmlns:a16="http://schemas.microsoft.com/office/drawing/2014/main" id="{44B2B121-B4DA-BA5C-666E-7517506F601F}"/>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E96241E1-1A99-7CE8-DB18-157B533C4534}"/>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7CFD6B81-C9F8-63CE-B6A3-233C24E0B2B6}"/>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8E12CE13-43A8-9439-DA67-BCC57C76B852}"/>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A358F5E5-719A-15E5-D969-7AB1254CB212}"/>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68E0AE80-E749-F100-72EA-52ACAF71DF2F}"/>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1">
            <a:extLst>
              <a:ext uri="{FF2B5EF4-FFF2-40B4-BE49-F238E27FC236}">
                <a16:creationId xmlns:a16="http://schemas.microsoft.com/office/drawing/2014/main" id="{ED01CE71-F5D9-86C9-7DC5-E2966B5621BB}"/>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B37090ED-C1B0-3DD3-C56E-8B3EA32C1D9C}"/>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5EFB7F00-9190-0E78-C5E0-40B727216D9F}"/>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A4E651F4-0762-EC8B-6EC0-0694E0B63B39}"/>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936E1553-2E4A-8727-C684-BFA15AF4776A}"/>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72A245CC-3F9E-9F62-64A1-4F4B4AB36179}"/>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
            <a:extLst>
              <a:ext uri="{FF2B5EF4-FFF2-40B4-BE49-F238E27FC236}">
                <a16:creationId xmlns:a16="http://schemas.microsoft.com/office/drawing/2014/main" id="{EB4FE517-8212-BC60-AAA9-EB0BE0242EA4}"/>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DB081B09-D3EF-94DD-DCF1-FB7AA9E8707B}"/>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7B127F26-EAF8-3788-EA29-18E7539DA8B8}"/>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5B45C9D4-F0CE-91C5-49EB-1DEA5695368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B5476F73-AB8B-A39A-8026-8042652F5014}"/>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A3A8CF61-EEF4-8C57-F837-F623A44ECBEB}"/>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1">
            <a:extLst>
              <a:ext uri="{FF2B5EF4-FFF2-40B4-BE49-F238E27FC236}">
                <a16:creationId xmlns:a16="http://schemas.microsoft.com/office/drawing/2014/main" id="{14C2D7A6-3248-6EA6-A3F1-218EF010F11B}"/>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EE495DC4-7BDB-4380-996E-04DD17A2D5E4}"/>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1B68C71D-961A-D782-7E54-7034328D61A9}"/>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506A6ABC-05D4-0076-A0CA-03160D3DCAAB}"/>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9C9F42F0-E36F-D27E-30AE-7A305A28623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75478D05-F491-D8DD-BE67-17E8BB24BDB9}"/>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
            <a:extLst>
              <a:ext uri="{FF2B5EF4-FFF2-40B4-BE49-F238E27FC236}">
                <a16:creationId xmlns:a16="http://schemas.microsoft.com/office/drawing/2014/main" id="{A6AECCA9-AF4A-B1B7-29A0-EA69A7E40E82}"/>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78DC0064-B407-9D51-8C76-7BF1794B2766}"/>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13AC2618-0544-C79D-5E8D-02CA3BE6F8B1}"/>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1BECE144-F4F4-E27E-EF82-A377D69E33FE}"/>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F24AD8EC-B5A9-6B84-2A55-6CD1D3CC6224}"/>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8BD25FCB-F4AD-92F7-4823-81157B715A0B}"/>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1">
            <a:extLst>
              <a:ext uri="{FF2B5EF4-FFF2-40B4-BE49-F238E27FC236}">
                <a16:creationId xmlns:a16="http://schemas.microsoft.com/office/drawing/2014/main" id="{99D700D4-52B7-A484-3FB8-9A20ABD28829}"/>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1370AA38-B305-2C9B-B03B-E097B2FB18D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B2F0C684-D314-DF5E-B143-4BC38C938E52}"/>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9E4DBA66-2DEA-E3F4-D0E2-23870F9C8E1D}"/>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33B9AF83-92D4-252F-7EA7-10BB9428442D}"/>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DC0A7E59-C698-4295-7322-5AD2EB2BA58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
            <a:extLst>
              <a:ext uri="{FF2B5EF4-FFF2-40B4-BE49-F238E27FC236}">
                <a16:creationId xmlns:a16="http://schemas.microsoft.com/office/drawing/2014/main" id="{35B3A78F-6797-7C71-08F4-3764183BBA38}"/>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0B302895-3BB4-311C-9A35-DB437C9E476F}"/>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D3A5B1B0-8D96-4200-A7F0-9AEBD9A5CB6C}"/>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3DA23A45-4A20-B304-DF0D-DB7678CD013A}"/>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2DA9A7EB-2A0E-0D1F-B540-2E7D5FF872F9}"/>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6FDA01C5-E968-8D71-963E-60A24013B85D}"/>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1">
            <a:extLst>
              <a:ext uri="{FF2B5EF4-FFF2-40B4-BE49-F238E27FC236}">
                <a16:creationId xmlns:a16="http://schemas.microsoft.com/office/drawing/2014/main" id="{31925EBC-73BC-5E27-ABEF-8526642180B2}"/>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
            <a:extLst>
              <a:ext uri="{FF2B5EF4-FFF2-40B4-BE49-F238E27FC236}">
                <a16:creationId xmlns:a16="http://schemas.microsoft.com/office/drawing/2014/main" id="{77E89166-3D0F-D8C6-4B28-983FA3F534D7}"/>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69A977C7-BABE-D68D-5B99-7D7E3D9907FC}"/>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12B4B6A6-D5C2-DDAE-D588-1E129525B1CC}"/>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AFDAD857-1D1B-7098-9882-EB2AA5DDEE1F}"/>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1467748A-CCAF-EFE5-8618-4E2A5DEB5263}"/>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14E21924-33AF-43D9-0067-D034E6757CE7}"/>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5079BC17-A6BD-E41D-C9FA-2413240AB93E}"/>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8FABE390-B6BF-B169-348B-EB555788EFAC}"/>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CF024612-D70B-C6D2-182D-BE4753839767}"/>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B979B3EC-1BDD-ECF6-8581-56AFA89AFC14}"/>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86B1F8B7-3F93-BD97-A7E3-7CF500BCE3E7}"/>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33201325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June">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9" name="Text Placeholder 21">
            <a:extLst>
              <a:ext uri="{FF2B5EF4-FFF2-40B4-BE49-F238E27FC236}">
                <a16:creationId xmlns:a16="http://schemas.microsoft.com/office/drawing/2014/main" id="{37D0995D-3B02-3150-DC6B-7897CFEF4248}"/>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23C4F2A7-B1C9-D57D-9A39-DF0C36A14CF3}"/>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5897080C-562E-9F9E-A606-225AA7567EF3}"/>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EC664A28-F8B6-562D-7C7F-6DB553994584}"/>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1">
            <a:extLst>
              <a:ext uri="{FF2B5EF4-FFF2-40B4-BE49-F238E27FC236}">
                <a16:creationId xmlns:a16="http://schemas.microsoft.com/office/drawing/2014/main" id="{26BD7907-C97F-C217-A2F3-2F7071457222}"/>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41" name="Text Placeholder 21">
            <a:extLst>
              <a:ext uri="{FF2B5EF4-FFF2-40B4-BE49-F238E27FC236}">
                <a16:creationId xmlns:a16="http://schemas.microsoft.com/office/drawing/2014/main" id="{CFB3B4C2-3955-9DF4-FBA1-EA35BC585B88}"/>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45" name="Text Placeholder 2">
            <a:extLst>
              <a:ext uri="{FF2B5EF4-FFF2-40B4-BE49-F238E27FC236}">
                <a16:creationId xmlns:a16="http://schemas.microsoft.com/office/drawing/2014/main" id="{2BE1D4A2-7D86-033F-E193-C4E0AABEE4BD}"/>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9D784FD8-239A-81A2-1761-5AA9FC591EF5}"/>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3A09D521-8365-C996-9F16-FEB3A87AD550}"/>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8FDC2ACE-7212-BECB-6C62-4A83695D22FC}"/>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B8523333-3C57-1D13-2D69-C222ADCC8944}"/>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3" name="Text Placeholder 2">
            <a:extLst>
              <a:ext uri="{FF2B5EF4-FFF2-40B4-BE49-F238E27FC236}">
                <a16:creationId xmlns:a16="http://schemas.microsoft.com/office/drawing/2014/main" id="{B2AB74BB-8C16-CB21-84DD-EC2379A4B9E6}"/>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2" name="Text Placeholder 21">
            <a:extLst>
              <a:ext uri="{FF2B5EF4-FFF2-40B4-BE49-F238E27FC236}">
                <a16:creationId xmlns:a16="http://schemas.microsoft.com/office/drawing/2014/main" id="{E1745DE7-CCBF-AC07-24D8-F1D2F8174ED1}"/>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816C0E4C-E8AD-0D27-35D5-45DD75486E63}"/>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4E48A781-2296-61D5-FECB-D3CE853C2D7F}"/>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E6BC9836-CB8A-2D56-D166-3B48790806F4}"/>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1">
            <a:extLst>
              <a:ext uri="{FF2B5EF4-FFF2-40B4-BE49-F238E27FC236}">
                <a16:creationId xmlns:a16="http://schemas.microsoft.com/office/drawing/2014/main" id="{F519A837-7108-1C10-6619-274C72E86A34}"/>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7" name="Text Placeholder 21">
            <a:extLst>
              <a:ext uri="{FF2B5EF4-FFF2-40B4-BE49-F238E27FC236}">
                <a16:creationId xmlns:a16="http://schemas.microsoft.com/office/drawing/2014/main" id="{20FB2C39-0914-79DB-259E-1B6D7A431B5D}"/>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8" name="Text Placeholder 2">
            <a:extLst>
              <a:ext uri="{FF2B5EF4-FFF2-40B4-BE49-F238E27FC236}">
                <a16:creationId xmlns:a16="http://schemas.microsoft.com/office/drawing/2014/main" id="{4CB8FFF1-7B39-EA27-C1BB-26A9EAB64499}"/>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611D6D97-378E-65F0-45D9-112FE6FBE883}"/>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29712206-4625-D51E-9D90-F4D3611D8948}"/>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8C55B87A-0F77-8424-9527-085D3D9F4D4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
            <a:extLst>
              <a:ext uri="{FF2B5EF4-FFF2-40B4-BE49-F238E27FC236}">
                <a16:creationId xmlns:a16="http://schemas.microsoft.com/office/drawing/2014/main" id="{D8F0636D-AFDB-AB32-0FC2-967E6634CC31}"/>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3" name="Text Placeholder 2">
            <a:extLst>
              <a:ext uri="{FF2B5EF4-FFF2-40B4-BE49-F238E27FC236}">
                <a16:creationId xmlns:a16="http://schemas.microsoft.com/office/drawing/2014/main" id="{1FDB8DE0-ABB7-8EAE-8F47-A88242C1B197}"/>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4" name="Text Placeholder 21">
            <a:extLst>
              <a:ext uri="{FF2B5EF4-FFF2-40B4-BE49-F238E27FC236}">
                <a16:creationId xmlns:a16="http://schemas.microsoft.com/office/drawing/2014/main" id="{13D073E4-0863-17E3-A11F-CFC0F27CA81E}"/>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36DE941E-611B-0AEA-1328-FC7A9A974918}"/>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00CBAA8D-FCE3-9DB3-4BE3-A33E6EDE020A}"/>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5E2CA6B8-D22B-AFE1-3AFC-A6FFF5E656CF}"/>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1">
            <a:extLst>
              <a:ext uri="{FF2B5EF4-FFF2-40B4-BE49-F238E27FC236}">
                <a16:creationId xmlns:a16="http://schemas.microsoft.com/office/drawing/2014/main" id="{9FC3DAEF-8F1A-8F2A-421B-8627F3891772}"/>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9" name="Text Placeholder 21">
            <a:extLst>
              <a:ext uri="{FF2B5EF4-FFF2-40B4-BE49-F238E27FC236}">
                <a16:creationId xmlns:a16="http://schemas.microsoft.com/office/drawing/2014/main" id="{85CD3196-72CF-1065-C2EE-A1E08C4AB5DF}"/>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0" name="Text Placeholder 2">
            <a:extLst>
              <a:ext uri="{FF2B5EF4-FFF2-40B4-BE49-F238E27FC236}">
                <a16:creationId xmlns:a16="http://schemas.microsoft.com/office/drawing/2014/main" id="{F6D73429-B24A-8725-663A-0C86BB3340D9}"/>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582B48FA-8153-D664-CC08-8E477721AD70}"/>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8891AD91-2155-9E9B-5ECA-5449F0C3E585}"/>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81EDFD42-AF5C-7BF2-0690-E730B9C6649A}"/>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
            <a:extLst>
              <a:ext uri="{FF2B5EF4-FFF2-40B4-BE49-F238E27FC236}">
                <a16:creationId xmlns:a16="http://schemas.microsoft.com/office/drawing/2014/main" id="{B19B8E39-3398-6AE0-A23B-AF62D0B39A84}"/>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5" name="Text Placeholder 2">
            <a:extLst>
              <a:ext uri="{FF2B5EF4-FFF2-40B4-BE49-F238E27FC236}">
                <a16:creationId xmlns:a16="http://schemas.microsoft.com/office/drawing/2014/main" id="{C8113AC9-B9AB-CA2C-A381-36E0361001E5}"/>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6" name="Text Placeholder 21">
            <a:extLst>
              <a:ext uri="{FF2B5EF4-FFF2-40B4-BE49-F238E27FC236}">
                <a16:creationId xmlns:a16="http://schemas.microsoft.com/office/drawing/2014/main" id="{C325326D-8D0D-28DD-73F1-A950782F2321}"/>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61808FE7-83B3-FF51-E2F7-2FEAEF3186D6}"/>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0D1170B5-9471-92D5-698A-EB2CAEC858AD}"/>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90E0EA77-618E-351C-4582-4AC537C97CE6}"/>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1">
            <a:extLst>
              <a:ext uri="{FF2B5EF4-FFF2-40B4-BE49-F238E27FC236}">
                <a16:creationId xmlns:a16="http://schemas.microsoft.com/office/drawing/2014/main" id="{206E046F-8E82-05D0-68C7-38FD6A28B267}"/>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1" name="Text Placeholder 21">
            <a:extLst>
              <a:ext uri="{FF2B5EF4-FFF2-40B4-BE49-F238E27FC236}">
                <a16:creationId xmlns:a16="http://schemas.microsoft.com/office/drawing/2014/main" id="{1CC8283B-CF34-D0F0-B25A-CAA204F63C0A}"/>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2" name="Text Placeholder 2">
            <a:extLst>
              <a:ext uri="{FF2B5EF4-FFF2-40B4-BE49-F238E27FC236}">
                <a16:creationId xmlns:a16="http://schemas.microsoft.com/office/drawing/2014/main" id="{A1CAD2AE-A097-FF80-722D-9713AF2997EB}"/>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4C639836-573B-6A74-AD84-A934CF50A439}"/>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8B345AA3-3AF0-741F-2E3F-8916283A215B}"/>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D1098F3E-8E5B-1397-E2EB-026F19465EC5}"/>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
            <a:extLst>
              <a:ext uri="{FF2B5EF4-FFF2-40B4-BE49-F238E27FC236}">
                <a16:creationId xmlns:a16="http://schemas.microsoft.com/office/drawing/2014/main" id="{4BDD20FA-44F5-AC42-F5B2-81BBDC9040C0}"/>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7" name="Text Placeholder 2">
            <a:extLst>
              <a:ext uri="{FF2B5EF4-FFF2-40B4-BE49-F238E27FC236}">
                <a16:creationId xmlns:a16="http://schemas.microsoft.com/office/drawing/2014/main" id="{1504322D-6958-A6CA-686A-78C0310E3F33}"/>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4" name="Text Placeholder 21">
            <a:extLst>
              <a:ext uri="{FF2B5EF4-FFF2-40B4-BE49-F238E27FC236}">
                <a16:creationId xmlns:a16="http://schemas.microsoft.com/office/drawing/2014/main" id="{06B837FE-9A94-8960-B067-92563CBF0FE8}"/>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5" name="Text Placeholder 21">
            <a:extLst>
              <a:ext uri="{FF2B5EF4-FFF2-40B4-BE49-F238E27FC236}">
                <a16:creationId xmlns:a16="http://schemas.microsoft.com/office/drawing/2014/main" id="{04E3DFA2-A7F5-FEF4-FFDF-DAB3EA74E55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72D73688-9456-7494-9A3C-706B10C185B3}"/>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FC820426-B7E7-A73C-695D-1360D98B3014}"/>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D256C196-5D5E-8E3A-5734-72BA3BAC1073}"/>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92A2FEF2-7954-4613-BEDF-903D5526CD5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
            <a:extLst>
              <a:ext uri="{FF2B5EF4-FFF2-40B4-BE49-F238E27FC236}">
                <a16:creationId xmlns:a16="http://schemas.microsoft.com/office/drawing/2014/main" id="{9F724C07-0234-4F2C-3BCE-BE30BD6039DE}"/>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739BABB9-E1C6-37B1-DF29-D3C9EB3712BD}"/>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F8C7B1CE-3063-FE30-A42B-C309F6B2C31B}"/>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066ED392-2370-59F0-AF73-02B0BCF80CFD}"/>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5BC3CB71-E951-5804-60B2-9D088A62759F}"/>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ADAD28F5-FDC8-30EE-697F-27AC8FC69D60}"/>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9" name="Text Placeholder 21">
            <a:extLst>
              <a:ext uri="{FF2B5EF4-FFF2-40B4-BE49-F238E27FC236}">
                <a16:creationId xmlns:a16="http://schemas.microsoft.com/office/drawing/2014/main" id="{E94A2FE4-69DB-A5CE-7357-0144310F9C6C}"/>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4" name="Text Placeholder 2">
            <a:extLst>
              <a:ext uri="{FF2B5EF4-FFF2-40B4-BE49-F238E27FC236}">
                <a16:creationId xmlns:a16="http://schemas.microsoft.com/office/drawing/2014/main" id="{1A8A15BA-4DEF-5C0D-430D-B59911AAC952}"/>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96B5004D-C519-9295-0F57-4502E437CE65}"/>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C616C191-3B14-89FB-3D7D-CFC3C9C19619}"/>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01019361-5114-077B-D3A1-8E2191615E5E}"/>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D5901B6B-3262-6E55-3C43-D9AAA9B4288A}"/>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3A660B9C-F0BC-BDB4-EDC0-0F31FF32E554}"/>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29E36C12-84A1-95E8-3161-8C0C3EBDFFE1}"/>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EF90984B-1C70-9DB3-138A-87544D893FF4}"/>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C3A9B539-609C-4333-ED15-B9C1292887D2}"/>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1F439EC8-052B-6E2D-E0AA-50470B235A09}"/>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3DDE706F-36BC-8203-564E-A677DB37C87F}"/>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7578364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y">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6" name="Text Placeholder 21">
            <a:extLst>
              <a:ext uri="{FF2B5EF4-FFF2-40B4-BE49-F238E27FC236}">
                <a16:creationId xmlns:a16="http://schemas.microsoft.com/office/drawing/2014/main" id="{23C658C2-CCA9-7D37-5C5A-5728DFCC10AC}"/>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 name="Text Placeholder 21">
            <a:extLst>
              <a:ext uri="{FF2B5EF4-FFF2-40B4-BE49-F238E27FC236}">
                <a16:creationId xmlns:a16="http://schemas.microsoft.com/office/drawing/2014/main" id="{4A161F6D-084C-9783-AE89-3814C10CF9E2}"/>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 name="Text Placeholder 21">
            <a:extLst>
              <a:ext uri="{FF2B5EF4-FFF2-40B4-BE49-F238E27FC236}">
                <a16:creationId xmlns:a16="http://schemas.microsoft.com/office/drawing/2014/main" id="{39176486-90D2-7638-2222-E45CC4C40D81}"/>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 name="Text Placeholder 21">
            <a:extLst>
              <a:ext uri="{FF2B5EF4-FFF2-40B4-BE49-F238E27FC236}">
                <a16:creationId xmlns:a16="http://schemas.microsoft.com/office/drawing/2014/main" id="{31C67659-F39B-D92B-C7D2-69DE7D91BC49}"/>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 name="Text Placeholder 21">
            <a:extLst>
              <a:ext uri="{FF2B5EF4-FFF2-40B4-BE49-F238E27FC236}">
                <a16:creationId xmlns:a16="http://schemas.microsoft.com/office/drawing/2014/main" id="{15210A80-6183-7D2E-0B34-DDE0C260A340}"/>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 name="Text Placeholder 21">
            <a:extLst>
              <a:ext uri="{FF2B5EF4-FFF2-40B4-BE49-F238E27FC236}">
                <a16:creationId xmlns:a16="http://schemas.microsoft.com/office/drawing/2014/main" id="{A592F7D9-A91A-0678-0B89-6D525FAC4DFE}"/>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3" name="Text Placeholder 2">
            <a:extLst>
              <a:ext uri="{FF2B5EF4-FFF2-40B4-BE49-F238E27FC236}">
                <a16:creationId xmlns:a16="http://schemas.microsoft.com/office/drawing/2014/main" id="{3C20390B-FA11-9903-FFD4-0F1B445B1FBE}"/>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1" name="Text Placeholder 2">
            <a:extLst>
              <a:ext uri="{FF2B5EF4-FFF2-40B4-BE49-F238E27FC236}">
                <a16:creationId xmlns:a16="http://schemas.microsoft.com/office/drawing/2014/main" id="{F49EA979-7CF5-7255-5EB9-5D2E05C53915}"/>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2" name="Text Placeholder 2">
            <a:extLst>
              <a:ext uri="{FF2B5EF4-FFF2-40B4-BE49-F238E27FC236}">
                <a16:creationId xmlns:a16="http://schemas.microsoft.com/office/drawing/2014/main" id="{8F580E5D-2801-6A32-A463-47B0C1D5F2A9}"/>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3" name="Text Placeholder 2">
            <a:extLst>
              <a:ext uri="{FF2B5EF4-FFF2-40B4-BE49-F238E27FC236}">
                <a16:creationId xmlns:a16="http://schemas.microsoft.com/office/drawing/2014/main" id="{9AE7F0E7-DF2D-4399-2523-AC36F56CDEF1}"/>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4" name="Text Placeholder 2">
            <a:extLst>
              <a:ext uri="{FF2B5EF4-FFF2-40B4-BE49-F238E27FC236}">
                <a16:creationId xmlns:a16="http://schemas.microsoft.com/office/drawing/2014/main" id="{B9FD0BEF-6461-B98A-076F-640CF7775371}"/>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5" name="Text Placeholder 2">
            <a:extLst>
              <a:ext uri="{FF2B5EF4-FFF2-40B4-BE49-F238E27FC236}">
                <a16:creationId xmlns:a16="http://schemas.microsoft.com/office/drawing/2014/main" id="{6A2E6D7E-6520-ACF4-2BE7-D558839D812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6" name="Text Placeholder 21">
            <a:extLst>
              <a:ext uri="{FF2B5EF4-FFF2-40B4-BE49-F238E27FC236}">
                <a16:creationId xmlns:a16="http://schemas.microsoft.com/office/drawing/2014/main" id="{D6073877-227C-B19D-11A3-666C6AC36D28}"/>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7" name="Text Placeholder 21">
            <a:extLst>
              <a:ext uri="{FF2B5EF4-FFF2-40B4-BE49-F238E27FC236}">
                <a16:creationId xmlns:a16="http://schemas.microsoft.com/office/drawing/2014/main" id="{BF466CDA-4D4B-EF24-96B9-6C7C9690DA38}"/>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C46D972D-BD61-E731-5CB3-521D8CA3D906}"/>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83BF1A27-B494-0787-5BF8-939C26A42A24}"/>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98FCA798-0957-C7FE-8721-23AD29002B1A}"/>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5388D1BE-9887-7A1E-3B95-20A0A320463E}"/>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
            <a:extLst>
              <a:ext uri="{FF2B5EF4-FFF2-40B4-BE49-F238E27FC236}">
                <a16:creationId xmlns:a16="http://schemas.microsoft.com/office/drawing/2014/main" id="{DCDBC4A6-7479-36FC-1107-28988B0B517D}"/>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33" name="Text Placeholder 2">
            <a:extLst>
              <a:ext uri="{FF2B5EF4-FFF2-40B4-BE49-F238E27FC236}">
                <a16:creationId xmlns:a16="http://schemas.microsoft.com/office/drawing/2014/main" id="{8B3925DF-3B02-8811-996F-55978307DE55}"/>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007F60D3-BC03-A816-C431-F5BCEC30D905}"/>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4A3D427F-3E33-8890-D71E-976353FA89C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1A95A2E7-E700-5AFA-3C2C-44A5E61EF63A}"/>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
            <a:extLst>
              <a:ext uri="{FF2B5EF4-FFF2-40B4-BE49-F238E27FC236}">
                <a16:creationId xmlns:a16="http://schemas.microsoft.com/office/drawing/2014/main" id="{0ACE8E98-582B-493A-2524-28FEE3E66D94}"/>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3" name="Text Placeholder 21">
            <a:extLst>
              <a:ext uri="{FF2B5EF4-FFF2-40B4-BE49-F238E27FC236}">
                <a16:creationId xmlns:a16="http://schemas.microsoft.com/office/drawing/2014/main" id="{FF07A96A-C15D-D496-EECF-7AFB4AD8E22C}"/>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082C89C3-5576-0A9E-45CD-7BE741A6A378}"/>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2EDB76B5-DB84-DDEC-5E14-EBA57BE0A363}"/>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2B9EFC45-C7C5-FABA-F4E7-2ECC2E6E3D92}"/>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F2B10BEA-E433-1E1D-3BD2-C284A787914F}"/>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1">
            <a:extLst>
              <a:ext uri="{FF2B5EF4-FFF2-40B4-BE49-F238E27FC236}">
                <a16:creationId xmlns:a16="http://schemas.microsoft.com/office/drawing/2014/main" id="{79E7909D-84FF-73FE-11F3-8AF24E44CA94}"/>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7" name="Text Placeholder 2">
            <a:extLst>
              <a:ext uri="{FF2B5EF4-FFF2-40B4-BE49-F238E27FC236}">
                <a16:creationId xmlns:a16="http://schemas.microsoft.com/office/drawing/2014/main" id="{7D7602E9-C938-7268-7743-29917D6A175F}"/>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4BF29F4C-E02D-0A2C-3283-9091F544A399}"/>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BB5BB35F-E9ED-ECC0-383B-46126AC95CE3}"/>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C9BA08D9-296A-6A64-210F-6B612528F60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851A0EBC-317C-5A42-D05F-3C6F1AE6C828}"/>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
            <a:extLst>
              <a:ext uri="{FF2B5EF4-FFF2-40B4-BE49-F238E27FC236}">
                <a16:creationId xmlns:a16="http://schemas.microsoft.com/office/drawing/2014/main" id="{537ABC06-CFB7-02D9-C57F-868DE6C08E14}"/>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3" name="Text Placeholder 21">
            <a:extLst>
              <a:ext uri="{FF2B5EF4-FFF2-40B4-BE49-F238E27FC236}">
                <a16:creationId xmlns:a16="http://schemas.microsoft.com/office/drawing/2014/main" id="{EA62A11A-4146-91F5-652C-B2CA31655FF5}"/>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5413BC03-4E5B-3955-47F0-52F8A9610B83}"/>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D24ABAE7-4B27-7013-9E6A-4BDFD148691D}"/>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30E4EDD4-16D5-7413-E674-D793A638B465}"/>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8E17A6D7-052D-21B4-AA30-F9F992F6D4F8}"/>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1">
            <a:extLst>
              <a:ext uri="{FF2B5EF4-FFF2-40B4-BE49-F238E27FC236}">
                <a16:creationId xmlns:a16="http://schemas.microsoft.com/office/drawing/2014/main" id="{CF3F2E95-C918-4538-8B1F-E6F347CEF8A7}"/>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9" name="Text Placeholder 2">
            <a:extLst>
              <a:ext uri="{FF2B5EF4-FFF2-40B4-BE49-F238E27FC236}">
                <a16:creationId xmlns:a16="http://schemas.microsoft.com/office/drawing/2014/main" id="{27EBE0F1-EC0C-0832-5197-095C7AE32FB0}"/>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0BBBD6B1-28DC-0EA7-89A5-A318BF8942A8}"/>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2C0D2593-4D18-474E-737D-C0612EF6751C}"/>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75498B20-7B1F-7D7D-4646-644932B9E6B3}"/>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EE2CABCD-C46D-6223-8DDA-9A043D4BB5B0}"/>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
            <a:extLst>
              <a:ext uri="{FF2B5EF4-FFF2-40B4-BE49-F238E27FC236}">
                <a16:creationId xmlns:a16="http://schemas.microsoft.com/office/drawing/2014/main" id="{85C5D1DC-47F5-0CC2-F924-A07619A1A9CD}"/>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5" name="Text Placeholder 21">
            <a:extLst>
              <a:ext uri="{FF2B5EF4-FFF2-40B4-BE49-F238E27FC236}">
                <a16:creationId xmlns:a16="http://schemas.microsoft.com/office/drawing/2014/main" id="{06D76036-0DA5-928F-C211-E7C44FC20D36}"/>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ECCB787D-C086-445C-02F5-DA3388276858}"/>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452824FE-C155-9661-CE89-1E12057C61F3}"/>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9CC4A36D-A516-7D33-FEB5-CE6071EC5C3C}"/>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A156ADF9-D79B-335F-2056-441856F9B87D}"/>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1">
            <a:extLst>
              <a:ext uri="{FF2B5EF4-FFF2-40B4-BE49-F238E27FC236}">
                <a16:creationId xmlns:a16="http://schemas.microsoft.com/office/drawing/2014/main" id="{5F24D66B-71AA-26CC-FB7F-48EC9FA10291}"/>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1" name="Text Placeholder 2">
            <a:extLst>
              <a:ext uri="{FF2B5EF4-FFF2-40B4-BE49-F238E27FC236}">
                <a16:creationId xmlns:a16="http://schemas.microsoft.com/office/drawing/2014/main" id="{E4BAB351-0378-AF11-BE20-E9737FFFB48B}"/>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8760DA18-D6DF-53A4-0657-FD6B988917B2}"/>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C7E34D4E-6ABF-6188-7F41-B8682A735288}"/>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2327D909-1DBD-18E8-4D24-487785367118}"/>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8C838632-1062-D799-8E9D-4571D219DE37}"/>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
            <a:extLst>
              <a:ext uri="{FF2B5EF4-FFF2-40B4-BE49-F238E27FC236}">
                <a16:creationId xmlns:a16="http://schemas.microsoft.com/office/drawing/2014/main" id="{ADF86B72-9527-0782-8009-B28346B8299A}"/>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7" name="Text Placeholder 21">
            <a:extLst>
              <a:ext uri="{FF2B5EF4-FFF2-40B4-BE49-F238E27FC236}">
                <a16:creationId xmlns:a16="http://schemas.microsoft.com/office/drawing/2014/main" id="{B9E9B1DB-1111-BA13-6F36-2F257D9A243A}"/>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
            <a:extLst>
              <a:ext uri="{FF2B5EF4-FFF2-40B4-BE49-F238E27FC236}">
                <a16:creationId xmlns:a16="http://schemas.microsoft.com/office/drawing/2014/main" id="{DEBFD5F9-288D-1473-1BB1-54B2FE8A9097}"/>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9" name="Text Placeholder 21">
            <a:extLst>
              <a:ext uri="{FF2B5EF4-FFF2-40B4-BE49-F238E27FC236}">
                <a16:creationId xmlns:a16="http://schemas.microsoft.com/office/drawing/2014/main" id="{59F9C79A-EDC5-FE21-398C-21AE729ED071}"/>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1">
            <a:extLst>
              <a:ext uri="{FF2B5EF4-FFF2-40B4-BE49-F238E27FC236}">
                <a16:creationId xmlns:a16="http://schemas.microsoft.com/office/drawing/2014/main" id="{4142546D-119D-C42C-661A-3A476C49586A}"/>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1" name="Text Placeholder 21">
            <a:extLst>
              <a:ext uri="{FF2B5EF4-FFF2-40B4-BE49-F238E27FC236}">
                <a16:creationId xmlns:a16="http://schemas.microsoft.com/office/drawing/2014/main" id="{D797AFB8-A1BB-41C9-EEFA-82DFFD87A050}"/>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2" name="Text Placeholder 21">
            <a:extLst>
              <a:ext uri="{FF2B5EF4-FFF2-40B4-BE49-F238E27FC236}">
                <a16:creationId xmlns:a16="http://schemas.microsoft.com/office/drawing/2014/main" id="{DC94B6CB-FD97-1BBB-81F5-4FEF47C99741}"/>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3" name="Text Placeholder 21">
            <a:extLst>
              <a:ext uri="{FF2B5EF4-FFF2-40B4-BE49-F238E27FC236}">
                <a16:creationId xmlns:a16="http://schemas.microsoft.com/office/drawing/2014/main" id="{505B7E51-833B-1483-C456-9A41BE03399C}"/>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4" name="Text Placeholder 2">
            <a:extLst>
              <a:ext uri="{FF2B5EF4-FFF2-40B4-BE49-F238E27FC236}">
                <a16:creationId xmlns:a16="http://schemas.microsoft.com/office/drawing/2014/main" id="{A0FE6705-CF77-2979-16BC-2CFC4514E1D9}"/>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025F9500-5F71-D42F-993B-600ECDC2A09E}"/>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
            <a:extLst>
              <a:ext uri="{FF2B5EF4-FFF2-40B4-BE49-F238E27FC236}">
                <a16:creationId xmlns:a16="http://schemas.microsoft.com/office/drawing/2014/main" id="{E8FB7EA2-55A9-9F68-D2D0-E66599C28DCA}"/>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9" name="Text Placeholder 2">
            <a:extLst>
              <a:ext uri="{FF2B5EF4-FFF2-40B4-BE49-F238E27FC236}">
                <a16:creationId xmlns:a16="http://schemas.microsoft.com/office/drawing/2014/main" id="{AFF3F6A8-EBB7-0B19-D082-4639C8FA4646}"/>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1" name="Text Placeholder 2">
            <a:extLst>
              <a:ext uri="{FF2B5EF4-FFF2-40B4-BE49-F238E27FC236}">
                <a16:creationId xmlns:a16="http://schemas.microsoft.com/office/drawing/2014/main" id="{9EBA0DD5-662F-4D71-78D7-E10CD937A858}"/>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4632956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ril">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6" name="Text Placeholder 21">
            <a:extLst>
              <a:ext uri="{FF2B5EF4-FFF2-40B4-BE49-F238E27FC236}">
                <a16:creationId xmlns:a16="http://schemas.microsoft.com/office/drawing/2014/main" id="{03480C92-D9DE-2600-8878-50CBD08BD44F}"/>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F51EAE76-4288-740E-DD89-DE03A54894B6}"/>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6D33263F-1961-139C-5319-83CB070664D3}"/>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9E9EEF8E-ADA2-7360-2EC0-7837B51F2176}"/>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3C63D274-E2AF-CEC0-8477-3D812E82FD7F}"/>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581F3A84-9C5C-A2DE-A357-D33683918A34}"/>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
            <a:extLst>
              <a:ext uri="{FF2B5EF4-FFF2-40B4-BE49-F238E27FC236}">
                <a16:creationId xmlns:a16="http://schemas.microsoft.com/office/drawing/2014/main" id="{48C36CB0-8AFF-2D1A-2EB0-F8352DF978AA}"/>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8148F11A-22AD-65C7-75F2-89A4D64A9748}"/>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5" name="Text Placeholder 2">
            <a:extLst>
              <a:ext uri="{FF2B5EF4-FFF2-40B4-BE49-F238E27FC236}">
                <a16:creationId xmlns:a16="http://schemas.microsoft.com/office/drawing/2014/main" id="{5475E77E-C900-B918-F3AE-6820054B8A60}"/>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718133D1-A7BD-8153-486E-AB3B15A75DEB}"/>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FFD8146F-7AAE-E2A4-BF2B-175ABEC110EE}"/>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EFC900DC-085B-49F1-6BDF-327336632D1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1">
            <a:extLst>
              <a:ext uri="{FF2B5EF4-FFF2-40B4-BE49-F238E27FC236}">
                <a16:creationId xmlns:a16="http://schemas.microsoft.com/office/drawing/2014/main" id="{50FADF55-BDEF-B4C3-2DA2-B09F5C1AEF7B}"/>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59" name="Text Placeholder 21">
            <a:extLst>
              <a:ext uri="{FF2B5EF4-FFF2-40B4-BE49-F238E27FC236}">
                <a16:creationId xmlns:a16="http://schemas.microsoft.com/office/drawing/2014/main" id="{D9847C35-4BFE-B1FA-0074-D42160C7A572}"/>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47A4B399-F7F6-EF07-63E1-BE2F5B5D3148}"/>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6B1314BC-A552-1840-9710-BDDE1721C949}"/>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06961B9A-6543-05BC-3D31-3632374C779C}"/>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8CDF7BF1-AC46-D0F2-9681-F5C6AAE65CE5}"/>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
            <a:extLst>
              <a:ext uri="{FF2B5EF4-FFF2-40B4-BE49-F238E27FC236}">
                <a16:creationId xmlns:a16="http://schemas.microsoft.com/office/drawing/2014/main" id="{F9A6B7AA-B930-0BD5-073E-0FC0A36A801B}"/>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6" name="Text Placeholder 2">
            <a:extLst>
              <a:ext uri="{FF2B5EF4-FFF2-40B4-BE49-F238E27FC236}">
                <a16:creationId xmlns:a16="http://schemas.microsoft.com/office/drawing/2014/main" id="{C28D3E4C-F3D3-BA87-CCE8-3DAF2A83D4F1}"/>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CB4BDD95-C248-A79B-0D87-168C6EE21C27}"/>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E40E30EA-E7AC-769C-DFE9-2C2EE693F05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A16AB2F0-CD53-FB09-4A6F-D7C8D905F5E5}"/>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202D130A-2872-A51F-5078-92225CB7C112}"/>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1">
            <a:extLst>
              <a:ext uri="{FF2B5EF4-FFF2-40B4-BE49-F238E27FC236}">
                <a16:creationId xmlns:a16="http://schemas.microsoft.com/office/drawing/2014/main" id="{8EAB2E23-034A-FA45-DB9C-F2BC05A4B735}"/>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2" name="Text Placeholder 21">
            <a:extLst>
              <a:ext uri="{FF2B5EF4-FFF2-40B4-BE49-F238E27FC236}">
                <a16:creationId xmlns:a16="http://schemas.microsoft.com/office/drawing/2014/main" id="{95F165C5-EE2F-32A4-09CC-8BC5B02245E6}"/>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99D35894-B0DF-5972-67C3-86CA510BC5BE}"/>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337B590D-A9FA-A6A8-7C97-424B9F0684C9}"/>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C1C6EA46-FD75-E704-09F2-0929AEDAE6B0}"/>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0DC3C1DB-6C74-76C6-7204-2B0C3CE7FA2D}"/>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
            <a:extLst>
              <a:ext uri="{FF2B5EF4-FFF2-40B4-BE49-F238E27FC236}">
                <a16:creationId xmlns:a16="http://schemas.microsoft.com/office/drawing/2014/main" id="{A5474F26-B208-3698-1C84-61890F454029}"/>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8" name="Text Placeholder 2">
            <a:extLst>
              <a:ext uri="{FF2B5EF4-FFF2-40B4-BE49-F238E27FC236}">
                <a16:creationId xmlns:a16="http://schemas.microsoft.com/office/drawing/2014/main" id="{7B017046-8547-43A9-FA49-CDB9384ED1D9}"/>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61BF3790-59F2-42A9-8F1B-E192E3579DDF}"/>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762FB43A-228A-E0B5-3826-59966425686F}"/>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B15738A2-B5B6-0633-64AF-66563A29DD10}"/>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6F8092EF-D2A1-7D38-C847-7E713414DD3A}"/>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1">
            <a:extLst>
              <a:ext uri="{FF2B5EF4-FFF2-40B4-BE49-F238E27FC236}">
                <a16:creationId xmlns:a16="http://schemas.microsoft.com/office/drawing/2014/main" id="{089883F6-2E5B-FE13-5EFF-7CE41B82E406}"/>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4" name="Text Placeholder 21">
            <a:extLst>
              <a:ext uri="{FF2B5EF4-FFF2-40B4-BE49-F238E27FC236}">
                <a16:creationId xmlns:a16="http://schemas.microsoft.com/office/drawing/2014/main" id="{3E7399A5-6A90-4D5A-2E95-453829853342}"/>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8032865A-6B17-4CF9-AD57-759FAA8C14B1}"/>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7BEDF1B7-2101-58EB-173B-560B50B1D7C2}"/>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EE8D67CC-97B1-9ED7-F064-6B0F24CE457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B9ECC4C1-5268-5D5B-5858-CE7528C3B161}"/>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
            <a:extLst>
              <a:ext uri="{FF2B5EF4-FFF2-40B4-BE49-F238E27FC236}">
                <a16:creationId xmlns:a16="http://schemas.microsoft.com/office/drawing/2014/main" id="{31DEBA60-C4CA-7C7D-342B-F53B36907816}"/>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0" name="Text Placeholder 2">
            <a:extLst>
              <a:ext uri="{FF2B5EF4-FFF2-40B4-BE49-F238E27FC236}">
                <a16:creationId xmlns:a16="http://schemas.microsoft.com/office/drawing/2014/main" id="{12F44D2C-4302-E514-46AC-29BCCACD7F00}"/>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B9B6E657-14B4-E24E-057B-E09759AF8449}"/>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854579A2-F6AB-ED01-34A1-6B541D886E00}"/>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156DDCCC-A9F7-F3E3-4CF3-317FEE423D18}"/>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25414524-86C7-8078-113D-97DBD4CE5341}"/>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1">
            <a:extLst>
              <a:ext uri="{FF2B5EF4-FFF2-40B4-BE49-F238E27FC236}">
                <a16:creationId xmlns:a16="http://schemas.microsoft.com/office/drawing/2014/main" id="{89CBB617-0247-E111-7E3F-7F6697D12C53}"/>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6" name="Text Placeholder 21">
            <a:extLst>
              <a:ext uri="{FF2B5EF4-FFF2-40B4-BE49-F238E27FC236}">
                <a16:creationId xmlns:a16="http://schemas.microsoft.com/office/drawing/2014/main" id="{DBEC3A21-47F2-B01A-D2D4-AB4E9A600191}"/>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507F4AA4-EE83-1892-692C-3ECFB16727B0}"/>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5" name="Text Placeholder 21">
            <a:extLst>
              <a:ext uri="{FF2B5EF4-FFF2-40B4-BE49-F238E27FC236}">
                <a16:creationId xmlns:a16="http://schemas.microsoft.com/office/drawing/2014/main" id="{5E3F98DA-EF04-A9E4-D257-F0C2997ED6B3}"/>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0AABE093-C6A8-02E2-42C9-B74FEA5D1FFE}"/>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AB043392-85B4-A084-B070-EA98B1A9E45F}"/>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
            <a:extLst>
              <a:ext uri="{FF2B5EF4-FFF2-40B4-BE49-F238E27FC236}">
                <a16:creationId xmlns:a16="http://schemas.microsoft.com/office/drawing/2014/main" id="{A5E901E7-1559-CF4D-D248-ED28393A9C90}"/>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9" name="Text Placeholder 2">
            <a:extLst>
              <a:ext uri="{FF2B5EF4-FFF2-40B4-BE49-F238E27FC236}">
                <a16:creationId xmlns:a16="http://schemas.microsoft.com/office/drawing/2014/main" id="{0132E90F-9C5D-EA01-2E8B-ECC573CB925B}"/>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0" name="Text Placeholder 2">
            <a:extLst>
              <a:ext uri="{FF2B5EF4-FFF2-40B4-BE49-F238E27FC236}">
                <a16:creationId xmlns:a16="http://schemas.microsoft.com/office/drawing/2014/main" id="{576E98CF-C715-0321-5A94-328C1F65B030}"/>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A26E205A-2564-1C8F-C8C0-D231C550FDD0}"/>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24E604DB-03C5-FEE3-3176-3128BF016F1A}"/>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670747EF-1D62-A232-D800-FA55767C9D27}"/>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1">
            <a:extLst>
              <a:ext uri="{FF2B5EF4-FFF2-40B4-BE49-F238E27FC236}">
                <a16:creationId xmlns:a16="http://schemas.microsoft.com/office/drawing/2014/main" id="{1740C345-F7BC-80C7-1A35-A7E38962252A}"/>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5" name="Text Placeholder 2">
            <a:extLst>
              <a:ext uri="{FF2B5EF4-FFF2-40B4-BE49-F238E27FC236}">
                <a16:creationId xmlns:a16="http://schemas.microsoft.com/office/drawing/2014/main" id="{ECE3C870-86D3-FF54-18CB-F54B8DD43E13}"/>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1">
            <a:extLst>
              <a:ext uri="{FF2B5EF4-FFF2-40B4-BE49-F238E27FC236}">
                <a16:creationId xmlns:a16="http://schemas.microsoft.com/office/drawing/2014/main" id="{D82A19B0-6D34-5158-1EAF-6B17A889A875}"/>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1">
            <a:extLst>
              <a:ext uri="{FF2B5EF4-FFF2-40B4-BE49-F238E27FC236}">
                <a16:creationId xmlns:a16="http://schemas.microsoft.com/office/drawing/2014/main" id="{82AB8DCC-3A5B-2516-CCC8-8910A0B5A53D}"/>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5" name="Text Placeholder 21">
            <a:extLst>
              <a:ext uri="{FF2B5EF4-FFF2-40B4-BE49-F238E27FC236}">
                <a16:creationId xmlns:a16="http://schemas.microsoft.com/office/drawing/2014/main" id="{06967F1F-BB4D-6E97-E1B5-BE739B4989B1}"/>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3BC676C8-0B41-5199-57BE-B2A28DB15751}"/>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7EB32C30-21EF-CD40-5AF2-726250F19C6F}"/>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
            <a:extLst>
              <a:ext uri="{FF2B5EF4-FFF2-40B4-BE49-F238E27FC236}">
                <a16:creationId xmlns:a16="http://schemas.microsoft.com/office/drawing/2014/main" id="{4C561879-974C-5A81-7292-98A27E11C847}"/>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0" name="Text Placeholder 2">
            <a:extLst>
              <a:ext uri="{FF2B5EF4-FFF2-40B4-BE49-F238E27FC236}">
                <a16:creationId xmlns:a16="http://schemas.microsoft.com/office/drawing/2014/main" id="{7D2012F1-A54E-C1D5-CF2F-BBE5C736C8A7}"/>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1" name="Text Placeholder 2">
            <a:extLst>
              <a:ext uri="{FF2B5EF4-FFF2-40B4-BE49-F238E27FC236}">
                <a16:creationId xmlns:a16="http://schemas.microsoft.com/office/drawing/2014/main" id="{481DA71A-A87E-131A-4AD6-5E1D0E6D2C43}"/>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1B5A66C9-C7F7-C9AA-461B-BC4E012AD967}"/>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8E23917F-F330-D83B-EC4B-82AE9051D7ED}"/>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4943392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arch">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88" name="Text Placeholder 21">
            <a:extLst>
              <a:ext uri="{FF2B5EF4-FFF2-40B4-BE49-F238E27FC236}">
                <a16:creationId xmlns:a16="http://schemas.microsoft.com/office/drawing/2014/main" id="{A1470067-6057-35FA-54EF-110E28AF2F9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9" name="Text Placeholder 21">
            <a:extLst>
              <a:ext uri="{FF2B5EF4-FFF2-40B4-BE49-F238E27FC236}">
                <a16:creationId xmlns:a16="http://schemas.microsoft.com/office/drawing/2014/main" id="{012FF6C4-3F0B-EC1B-27B3-55A34FA18D0E}"/>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0" name="Text Placeholder 21">
            <a:extLst>
              <a:ext uri="{FF2B5EF4-FFF2-40B4-BE49-F238E27FC236}">
                <a16:creationId xmlns:a16="http://schemas.microsoft.com/office/drawing/2014/main" id="{6EE24261-D929-F53C-DFF8-CA431F354B74}"/>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1" name="Text Placeholder 21">
            <a:extLst>
              <a:ext uri="{FF2B5EF4-FFF2-40B4-BE49-F238E27FC236}">
                <a16:creationId xmlns:a16="http://schemas.microsoft.com/office/drawing/2014/main" id="{2A32F580-857C-ED7A-FD14-CE12F0D1559C}"/>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2" name="Text Placeholder 21">
            <a:extLst>
              <a:ext uri="{FF2B5EF4-FFF2-40B4-BE49-F238E27FC236}">
                <a16:creationId xmlns:a16="http://schemas.microsoft.com/office/drawing/2014/main" id="{43BF2B2D-FCB5-8EF0-25C5-7515B9B3D81C}"/>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3" name="Text Placeholder 21">
            <a:extLst>
              <a:ext uri="{FF2B5EF4-FFF2-40B4-BE49-F238E27FC236}">
                <a16:creationId xmlns:a16="http://schemas.microsoft.com/office/drawing/2014/main" id="{44715596-AF5F-78E7-3018-EF092C5CD574}"/>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4" name="Text Placeholder 2">
            <a:extLst>
              <a:ext uri="{FF2B5EF4-FFF2-40B4-BE49-F238E27FC236}">
                <a16:creationId xmlns:a16="http://schemas.microsoft.com/office/drawing/2014/main" id="{9B1AF177-F1F9-F563-C583-150786CAB302}"/>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5" name="Text Placeholder 2">
            <a:extLst>
              <a:ext uri="{FF2B5EF4-FFF2-40B4-BE49-F238E27FC236}">
                <a16:creationId xmlns:a16="http://schemas.microsoft.com/office/drawing/2014/main" id="{0D091039-1BAE-CD9E-8C65-944BB4CC9FEA}"/>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6" name="Text Placeholder 2">
            <a:extLst>
              <a:ext uri="{FF2B5EF4-FFF2-40B4-BE49-F238E27FC236}">
                <a16:creationId xmlns:a16="http://schemas.microsoft.com/office/drawing/2014/main" id="{D67A5E79-F4B3-0F2C-8F05-297A07410F65}"/>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7" name="Text Placeholder 2">
            <a:extLst>
              <a:ext uri="{FF2B5EF4-FFF2-40B4-BE49-F238E27FC236}">
                <a16:creationId xmlns:a16="http://schemas.microsoft.com/office/drawing/2014/main" id="{B0EF86C4-64D2-2CF8-29AD-8B94A6643D00}"/>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8" name="Text Placeholder 2">
            <a:extLst>
              <a:ext uri="{FF2B5EF4-FFF2-40B4-BE49-F238E27FC236}">
                <a16:creationId xmlns:a16="http://schemas.microsoft.com/office/drawing/2014/main" id="{A7A94A63-95C3-020A-4515-6162961168D8}"/>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9" name="Text Placeholder 2">
            <a:extLst>
              <a:ext uri="{FF2B5EF4-FFF2-40B4-BE49-F238E27FC236}">
                <a16:creationId xmlns:a16="http://schemas.microsoft.com/office/drawing/2014/main" id="{A993B05A-ADC3-B750-EBC9-6960BECAAEA7}"/>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0" name="Text Placeholder 21">
            <a:extLst>
              <a:ext uri="{FF2B5EF4-FFF2-40B4-BE49-F238E27FC236}">
                <a16:creationId xmlns:a16="http://schemas.microsoft.com/office/drawing/2014/main" id="{C9A7F8F0-B335-6CE0-6793-E0AF935C0017}"/>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1" name="Text Placeholder 21">
            <a:extLst>
              <a:ext uri="{FF2B5EF4-FFF2-40B4-BE49-F238E27FC236}">
                <a16:creationId xmlns:a16="http://schemas.microsoft.com/office/drawing/2014/main" id="{A7EF1B72-1020-E86C-4B1F-0B3C5DEA471B}"/>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2" name="Text Placeholder 21">
            <a:extLst>
              <a:ext uri="{FF2B5EF4-FFF2-40B4-BE49-F238E27FC236}">
                <a16:creationId xmlns:a16="http://schemas.microsoft.com/office/drawing/2014/main" id="{ABB306AE-E768-CD63-6882-0D9EFB1724DA}"/>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3" name="Text Placeholder 21">
            <a:extLst>
              <a:ext uri="{FF2B5EF4-FFF2-40B4-BE49-F238E27FC236}">
                <a16:creationId xmlns:a16="http://schemas.microsoft.com/office/drawing/2014/main" id="{D6AD8F69-5EDC-01E6-774D-C2AEA34C8113}"/>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4" name="Text Placeholder 21">
            <a:extLst>
              <a:ext uri="{FF2B5EF4-FFF2-40B4-BE49-F238E27FC236}">
                <a16:creationId xmlns:a16="http://schemas.microsoft.com/office/drawing/2014/main" id="{9E5DEF59-6AB0-EA7A-2D4A-75FB89B798FD}"/>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5" name="Text Placeholder 21">
            <a:extLst>
              <a:ext uri="{FF2B5EF4-FFF2-40B4-BE49-F238E27FC236}">
                <a16:creationId xmlns:a16="http://schemas.microsoft.com/office/drawing/2014/main" id="{7EB38161-E820-290E-68E6-03C083522A16}"/>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6" name="Text Placeholder 2">
            <a:extLst>
              <a:ext uri="{FF2B5EF4-FFF2-40B4-BE49-F238E27FC236}">
                <a16:creationId xmlns:a16="http://schemas.microsoft.com/office/drawing/2014/main" id="{51C152D3-CA99-9C56-7B34-C8FB8F55ABFA}"/>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7" name="Text Placeholder 2">
            <a:extLst>
              <a:ext uri="{FF2B5EF4-FFF2-40B4-BE49-F238E27FC236}">
                <a16:creationId xmlns:a16="http://schemas.microsoft.com/office/drawing/2014/main" id="{9E6B5862-1AE0-0598-ECE6-1E40C761F58F}"/>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8" name="Text Placeholder 2">
            <a:extLst>
              <a:ext uri="{FF2B5EF4-FFF2-40B4-BE49-F238E27FC236}">
                <a16:creationId xmlns:a16="http://schemas.microsoft.com/office/drawing/2014/main" id="{84B604C3-6C3B-9F94-12EB-AFC77D2E40B8}"/>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9" name="Text Placeholder 2">
            <a:extLst>
              <a:ext uri="{FF2B5EF4-FFF2-40B4-BE49-F238E27FC236}">
                <a16:creationId xmlns:a16="http://schemas.microsoft.com/office/drawing/2014/main" id="{E1756419-BFC5-6553-7598-DC23B78DE5AA}"/>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0" name="Text Placeholder 2">
            <a:extLst>
              <a:ext uri="{FF2B5EF4-FFF2-40B4-BE49-F238E27FC236}">
                <a16:creationId xmlns:a16="http://schemas.microsoft.com/office/drawing/2014/main" id="{8A71F5DA-C468-B1C0-F3DD-1F158CFB3212}"/>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1" name="Text Placeholder 2">
            <a:extLst>
              <a:ext uri="{FF2B5EF4-FFF2-40B4-BE49-F238E27FC236}">
                <a16:creationId xmlns:a16="http://schemas.microsoft.com/office/drawing/2014/main" id="{6335B1BF-DC70-E268-A3F4-DA8B241A34C6}"/>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2" name="Text Placeholder 21">
            <a:extLst>
              <a:ext uri="{FF2B5EF4-FFF2-40B4-BE49-F238E27FC236}">
                <a16:creationId xmlns:a16="http://schemas.microsoft.com/office/drawing/2014/main" id="{E7843CCF-4845-F834-60D3-4726164A11CF}"/>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3" name="Text Placeholder 21">
            <a:extLst>
              <a:ext uri="{FF2B5EF4-FFF2-40B4-BE49-F238E27FC236}">
                <a16:creationId xmlns:a16="http://schemas.microsoft.com/office/drawing/2014/main" id="{B352A1C6-E6B6-22D2-2382-5D0A0CA2B7A1}"/>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4" name="Text Placeholder 21">
            <a:extLst>
              <a:ext uri="{FF2B5EF4-FFF2-40B4-BE49-F238E27FC236}">
                <a16:creationId xmlns:a16="http://schemas.microsoft.com/office/drawing/2014/main" id="{12E4163C-A39B-D460-631B-05764823AC1C}"/>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5" name="Text Placeholder 21">
            <a:extLst>
              <a:ext uri="{FF2B5EF4-FFF2-40B4-BE49-F238E27FC236}">
                <a16:creationId xmlns:a16="http://schemas.microsoft.com/office/drawing/2014/main" id="{368438C1-C0E2-DA37-A9D8-B1AB7885488C}"/>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6" name="Text Placeholder 21">
            <a:extLst>
              <a:ext uri="{FF2B5EF4-FFF2-40B4-BE49-F238E27FC236}">
                <a16:creationId xmlns:a16="http://schemas.microsoft.com/office/drawing/2014/main" id="{65B89D6E-D6EA-5A74-9FA4-E96E91A46360}"/>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7" name="Text Placeholder 21">
            <a:extLst>
              <a:ext uri="{FF2B5EF4-FFF2-40B4-BE49-F238E27FC236}">
                <a16:creationId xmlns:a16="http://schemas.microsoft.com/office/drawing/2014/main" id="{63B7A4AE-9AC1-F2FB-0CD5-4ECDF2CF3A82}"/>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8" name="Text Placeholder 2">
            <a:extLst>
              <a:ext uri="{FF2B5EF4-FFF2-40B4-BE49-F238E27FC236}">
                <a16:creationId xmlns:a16="http://schemas.microsoft.com/office/drawing/2014/main" id="{47E1E323-BD74-235D-251C-AAE76D0D980E}"/>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9" name="Text Placeholder 2">
            <a:extLst>
              <a:ext uri="{FF2B5EF4-FFF2-40B4-BE49-F238E27FC236}">
                <a16:creationId xmlns:a16="http://schemas.microsoft.com/office/drawing/2014/main" id="{7896F866-6B76-1547-C63E-CE6D08D7B2B5}"/>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0" name="Text Placeholder 2">
            <a:extLst>
              <a:ext uri="{FF2B5EF4-FFF2-40B4-BE49-F238E27FC236}">
                <a16:creationId xmlns:a16="http://schemas.microsoft.com/office/drawing/2014/main" id="{433996F5-6712-B6BF-0195-EF5D14D22905}"/>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1" name="Text Placeholder 2">
            <a:extLst>
              <a:ext uri="{FF2B5EF4-FFF2-40B4-BE49-F238E27FC236}">
                <a16:creationId xmlns:a16="http://schemas.microsoft.com/office/drawing/2014/main" id="{9C21777B-6FA6-0D00-6D72-B63E5DF84E86}"/>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2" name="Text Placeholder 2">
            <a:extLst>
              <a:ext uri="{FF2B5EF4-FFF2-40B4-BE49-F238E27FC236}">
                <a16:creationId xmlns:a16="http://schemas.microsoft.com/office/drawing/2014/main" id="{4F556839-C49E-67D0-9019-B484470DA14C}"/>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3" name="Text Placeholder 2">
            <a:extLst>
              <a:ext uri="{FF2B5EF4-FFF2-40B4-BE49-F238E27FC236}">
                <a16:creationId xmlns:a16="http://schemas.microsoft.com/office/drawing/2014/main" id="{E8193060-4B11-6025-EF25-18E9C03C7FD9}"/>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4" name="Text Placeholder 21">
            <a:extLst>
              <a:ext uri="{FF2B5EF4-FFF2-40B4-BE49-F238E27FC236}">
                <a16:creationId xmlns:a16="http://schemas.microsoft.com/office/drawing/2014/main" id="{70200C63-D39C-62E1-E1BD-A0550FE99832}"/>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5" name="Text Placeholder 21">
            <a:extLst>
              <a:ext uri="{FF2B5EF4-FFF2-40B4-BE49-F238E27FC236}">
                <a16:creationId xmlns:a16="http://schemas.microsoft.com/office/drawing/2014/main" id="{2D50C9DB-55A5-BC35-1C03-FAF67956124C}"/>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6" name="Text Placeholder 21">
            <a:extLst>
              <a:ext uri="{FF2B5EF4-FFF2-40B4-BE49-F238E27FC236}">
                <a16:creationId xmlns:a16="http://schemas.microsoft.com/office/drawing/2014/main" id="{4D4E6B6F-B736-4445-97C5-7D838FE8EAB0}"/>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7" name="Text Placeholder 21">
            <a:extLst>
              <a:ext uri="{FF2B5EF4-FFF2-40B4-BE49-F238E27FC236}">
                <a16:creationId xmlns:a16="http://schemas.microsoft.com/office/drawing/2014/main" id="{390F9CC4-AEA4-D365-6A60-24FFC1AFC7C8}"/>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6" name="Text Placeholder 21">
            <a:extLst>
              <a:ext uri="{FF2B5EF4-FFF2-40B4-BE49-F238E27FC236}">
                <a16:creationId xmlns:a16="http://schemas.microsoft.com/office/drawing/2014/main" id="{67F7063C-19DB-5C26-5746-6879F83C3A19}"/>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7" name="Text Placeholder 21">
            <a:extLst>
              <a:ext uri="{FF2B5EF4-FFF2-40B4-BE49-F238E27FC236}">
                <a16:creationId xmlns:a16="http://schemas.microsoft.com/office/drawing/2014/main" id="{26EAFF2F-FF1D-84A7-15B0-852350C4AD4B}"/>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8" name="Text Placeholder 2">
            <a:extLst>
              <a:ext uri="{FF2B5EF4-FFF2-40B4-BE49-F238E27FC236}">
                <a16:creationId xmlns:a16="http://schemas.microsoft.com/office/drawing/2014/main" id="{8BA091E4-DED7-FFE5-0417-AE7E95B4E437}"/>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9" name="Text Placeholder 2">
            <a:extLst>
              <a:ext uri="{FF2B5EF4-FFF2-40B4-BE49-F238E27FC236}">
                <a16:creationId xmlns:a16="http://schemas.microsoft.com/office/drawing/2014/main" id="{64EED931-048C-116F-2DA9-D1E9455485FC}"/>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0" name="Text Placeholder 2">
            <a:extLst>
              <a:ext uri="{FF2B5EF4-FFF2-40B4-BE49-F238E27FC236}">
                <a16:creationId xmlns:a16="http://schemas.microsoft.com/office/drawing/2014/main" id="{9E96DB6C-51A4-E006-6ED7-71E4C11BB305}"/>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1" name="Text Placeholder 2">
            <a:extLst>
              <a:ext uri="{FF2B5EF4-FFF2-40B4-BE49-F238E27FC236}">
                <a16:creationId xmlns:a16="http://schemas.microsoft.com/office/drawing/2014/main" id="{8803044B-CC30-50B7-1FED-6F453D5164AC}"/>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2" name="Text Placeholder 2">
            <a:extLst>
              <a:ext uri="{FF2B5EF4-FFF2-40B4-BE49-F238E27FC236}">
                <a16:creationId xmlns:a16="http://schemas.microsoft.com/office/drawing/2014/main" id="{AEAB5D31-963F-0613-9D8A-638CBC65CB98}"/>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3" name="Text Placeholder 2">
            <a:extLst>
              <a:ext uri="{FF2B5EF4-FFF2-40B4-BE49-F238E27FC236}">
                <a16:creationId xmlns:a16="http://schemas.microsoft.com/office/drawing/2014/main" id="{70DB5339-B8F2-6422-7396-8FDDAC78EE53}"/>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4" name="Text Placeholder 21">
            <a:extLst>
              <a:ext uri="{FF2B5EF4-FFF2-40B4-BE49-F238E27FC236}">
                <a16:creationId xmlns:a16="http://schemas.microsoft.com/office/drawing/2014/main" id="{BB48CB48-2348-AA08-684D-691EA8334260}"/>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5" name="Text Placeholder 21">
            <a:extLst>
              <a:ext uri="{FF2B5EF4-FFF2-40B4-BE49-F238E27FC236}">
                <a16:creationId xmlns:a16="http://schemas.microsoft.com/office/drawing/2014/main" id="{11359015-B4A7-2A5E-F5FE-FE99081E92E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6" name="Text Placeholder 21">
            <a:extLst>
              <a:ext uri="{FF2B5EF4-FFF2-40B4-BE49-F238E27FC236}">
                <a16:creationId xmlns:a16="http://schemas.microsoft.com/office/drawing/2014/main" id="{8F8812B0-2764-FDDE-BAB4-BE4F9751DB37}"/>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7" name="Text Placeholder 21">
            <a:extLst>
              <a:ext uri="{FF2B5EF4-FFF2-40B4-BE49-F238E27FC236}">
                <a16:creationId xmlns:a16="http://schemas.microsoft.com/office/drawing/2014/main" id="{9644F70F-7A79-15C9-88C6-71D4518C46F8}"/>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8" name="Text Placeholder 21">
            <a:extLst>
              <a:ext uri="{FF2B5EF4-FFF2-40B4-BE49-F238E27FC236}">
                <a16:creationId xmlns:a16="http://schemas.microsoft.com/office/drawing/2014/main" id="{72E460A6-1C64-B0A3-B829-A70235E5620B}"/>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9" name="Text Placeholder 21">
            <a:extLst>
              <a:ext uri="{FF2B5EF4-FFF2-40B4-BE49-F238E27FC236}">
                <a16:creationId xmlns:a16="http://schemas.microsoft.com/office/drawing/2014/main" id="{3E65988F-C66A-3F39-E98C-74C07E64D330}"/>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0" name="Text Placeholder 2">
            <a:extLst>
              <a:ext uri="{FF2B5EF4-FFF2-40B4-BE49-F238E27FC236}">
                <a16:creationId xmlns:a16="http://schemas.microsoft.com/office/drawing/2014/main" id="{06AC8E52-B2C9-4B56-BD69-6EE4B32EFBA6}"/>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1" name="Text Placeholder 2">
            <a:extLst>
              <a:ext uri="{FF2B5EF4-FFF2-40B4-BE49-F238E27FC236}">
                <a16:creationId xmlns:a16="http://schemas.microsoft.com/office/drawing/2014/main" id="{471BFD3C-7F95-D5D9-E7A2-4FC384B48DB8}"/>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2" name="Text Placeholder 2">
            <a:extLst>
              <a:ext uri="{FF2B5EF4-FFF2-40B4-BE49-F238E27FC236}">
                <a16:creationId xmlns:a16="http://schemas.microsoft.com/office/drawing/2014/main" id="{023A4B65-33D4-88FC-0764-CCA2D19B5956}"/>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3" name="Text Placeholder 2">
            <a:extLst>
              <a:ext uri="{FF2B5EF4-FFF2-40B4-BE49-F238E27FC236}">
                <a16:creationId xmlns:a16="http://schemas.microsoft.com/office/drawing/2014/main" id="{DF19030A-6924-C951-17F3-D194ABCE05EB}"/>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4" name="Text Placeholder 2">
            <a:extLst>
              <a:ext uri="{FF2B5EF4-FFF2-40B4-BE49-F238E27FC236}">
                <a16:creationId xmlns:a16="http://schemas.microsoft.com/office/drawing/2014/main" id="{FDB5A38F-92D0-F0AA-1EB6-765F8BC29324}"/>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5" name="Text Placeholder 2">
            <a:extLst>
              <a:ext uri="{FF2B5EF4-FFF2-40B4-BE49-F238E27FC236}">
                <a16:creationId xmlns:a16="http://schemas.microsoft.com/office/drawing/2014/main" id="{5B8813B2-9C77-F25B-D735-552A4C4A39C3}"/>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6" name="Text Placeholder 21">
            <a:extLst>
              <a:ext uri="{FF2B5EF4-FFF2-40B4-BE49-F238E27FC236}">
                <a16:creationId xmlns:a16="http://schemas.microsoft.com/office/drawing/2014/main" id="{961AFC16-2C69-40DC-7731-2F9CFE379906}"/>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7" name="Text Placeholder 2">
            <a:extLst>
              <a:ext uri="{FF2B5EF4-FFF2-40B4-BE49-F238E27FC236}">
                <a16:creationId xmlns:a16="http://schemas.microsoft.com/office/drawing/2014/main" id="{F1CAC1F1-D09E-E608-6675-29674E3A0DFB}"/>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8" name="Text Placeholder 21">
            <a:extLst>
              <a:ext uri="{FF2B5EF4-FFF2-40B4-BE49-F238E27FC236}">
                <a16:creationId xmlns:a16="http://schemas.microsoft.com/office/drawing/2014/main" id="{0496FE1E-032D-2C28-AB64-691E36B2A304}"/>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9" name="Text Placeholder 21">
            <a:extLst>
              <a:ext uri="{FF2B5EF4-FFF2-40B4-BE49-F238E27FC236}">
                <a16:creationId xmlns:a16="http://schemas.microsoft.com/office/drawing/2014/main" id="{860B7D10-0781-DDA4-8FC5-CDF8C11FC9A0}"/>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0" name="Text Placeholder 21">
            <a:extLst>
              <a:ext uri="{FF2B5EF4-FFF2-40B4-BE49-F238E27FC236}">
                <a16:creationId xmlns:a16="http://schemas.microsoft.com/office/drawing/2014/main" id="{40509A2A-13A3-7A78-F7AA-2CCF795CBB37}"/>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1" name="Text Placeholder 21">
            <a:extLst>
              <a:ext uri="{FF2B5EF4-FFF2-40B4-BE49-F238E27FC236}">
                <a16:creationId xmlns:a16="http://schemas.microsoft.com/office/drawing/2014/main" id="{C684DA59-43E9-5937-E4ED-4F6AC107163D}"/>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2" name="Text Placeholder 21">
            <a:extLst>
              <a:ext uri="{FF2B5EF4-FFF2-40B4-BE49-F238E27FC236}">
                <a16:creationId xmlns:a16="http://schemas.microsoft.com/office/drawing/2014/main" id="{77323B47-D111-709C-7EC7-DDDFF492DB98}"/>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3" name="Text Placeholder 2">
            <a:extLst>
              <a:ext uri="{FF2B5EF4-FFF2-40B4-BE49-F238E27FC236}">
                <a16:creationId xmlns:a16="http://schemas.microsoft.com/office/drawing/2014/main" id="{21A09B03-06C9-AAF9-7D76-FE66BB541D89}"/>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4" name="Text Placeholder 2">
            <a:extLst>
              <a:ext uri="{FF2B5EF4-FFF2-40B4-BE49-F238E27FC236}">
                <a16:creationId xmlns:a16="http://schemas.microsoft.com/office/drawing/2014/main" id="{4E9BA23C-A2CF-F08A-E36A-2933323520CE}"/>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5" name="Text Placeholder 2">
            <a:extLst>
              <a:ext uri="{FF2B5EF4-FFF2-40B4-BE49-F238E27FC236}">
                <a16:creationId xmlns:a16="http://schemas.microsoft.com/office/drawing/2014/main" id="{C7AA25DC-67FF-41BF-9276-9D7B46847E4D}"/>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6" name="Text Placeholder 2">
            <a:extLst>
              <a:ext uri="{FF2B5EF4-FFF2-40B4-BE49-F238E27FC236}">
                <a16:creationId xmlns:a16="http://schemas.microsoft.com/office/drawing/2014/main" id="{1DF005BE-55AD-30A2-F229-6FCF6384AAFF}"/>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7" name="Text Placeholder 2">
            <a:extLst>
              <a:ext uri="{FF2B5EF4-FFF2-40B4-BE49-F238E27FC236}">
                <a16:creationId xmlns:a16="http://schemas.microsoft.com/office/drawing/2014/main" id="{6FB3D53A-45A7-6656-38BB-B1DCB5317BE6}"/>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3695812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ebruary">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82" name="Text Placeholder 21">
            <a:extLst>
              <a:ext uri="{FF2B5EF4-FFF2-40B4-BE49-F238E27FC236}">
                <a16:creationId xmlns:a16="http://schemas.microsoft.com/office/drawing/2014/main" id="{81867981-E740-E177-F18A-A1F53501751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3" name="Text Placeholder 21">
            <a:extLst>
              <a:ext uri="{FF2B5EF4-FFF2-40B4-BE49-F238E27FC236}">
                <a16:creationId xmlns:a16="http://schemas.microsoft.com/office/drawing/2014/main" id="{A5F07174-EC58-421C-30FE-BAA99C791BE4}"/>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4" name="Text Placeholder 21">
            <a:extLst>
              <a:ext uri="{FF2B5EF4-FFF2-40B4-BE49-F238E27FC236}">
                <a16:creationId xmlns:a16="http://schemas.microsoft.com/office/drawing/2014/main" id="{E202016D-683F-060D-3172-D434B821CBCA}"/>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5" name="Text Placeholder 21">
            <a:extLst>
              <a:ext uri="{FF2B5EF4-FFF2-40B4-BE49-F238E27FC236}">
                <a16:creationId xmlns:a16="http://schemas.microsoft.com/office/drawing/2014/main" id="{F81D7778-9224-E26E-DB52-D52D030173EE}"/>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6" name="Text Placeholder 21">
            <a:extLst>
              <a:ext uri="{FF2B5EF4-FFF2-40B4-BE49-F238E27FC236}">
                <a16:creationId xmlns:a16="http://schemas.microsoft.com/office/drawing/2014/main" id="{515434F3-00CD-3819-33E1-99C31A4C6E05}"/>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7" name="Text Placeholder 21">
            <a:extLst>
              <a:ext uri="{FF2B5EF4-FFF2-40B4-BE49-F238E27FC236}">
                <a16:creationId xmlns:a16="http://schemas.microsoft.com/office/drawing/2014/main" id="{D26442AF-38BA-5921-5E87-9A20A3BF9100}"/>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8" name="Text Placeholder 2">
            <a:extLst>
              <a:ext uri="{FF2B5EF4-FFF2-40B4-BE49-F238E27FC236}">
                <a16:creationId xmlns:a16="http://schemas.microsoft.com/office/drawing/2014/main" id="{4E8C0746-77DA-DD7C-973E-3C63A8BDED4A}"/>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9" name="Text Placeholder 2">
            <a:extLst>
              <a:ext uri="{FF2B5EF4-FFF2-40B4-BE49-F238E27FC236}">
                <a16:creationId xmlns:a16="http://schemas.microsoft.com/office/drawing/2014/main" id="{E0BD37DD-1FC8-9582-4C3C-CEC72EA16D21}"/>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0" name="Text Placeholder 2">
            <a:extLst>
              <a:ext uri="{FF2B5EF4-FFF2-40B4-BE49-F238E27FC236}">
                <a16:creationId xmlns:a16="http://schemas.microsoft.com/office/drawing/2014/main" id="{E6C51849-0AB8-31D4-726C-568CB72E7C69}"/>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1" name="Text Placeholder 2">
            <a:extLst>
              <a:ext uri="{FF2B5EF4-FFF2-40B4-BE49-F238E27FC236}">
                <a16:creationId xmlns:a16="http://schemas.microsoft.com/office/drawing/2014/main" id="{82FB73D3-442F-14AB-0CFB-74265C948754}"/>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2" name="Text Placeholder 2">
            <a:extLst>
              <a:ext uri="{FF2B5EF4-FFF2-40B4-BE49-F238E27FC236}">
                <a16:creationId xmlns:a16="http://schemas.microsoft.com/office/drawing/2014/main" id="{FC6CFDA3-A7D4-4820-32B9-399D5002403A}"/>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3" name="Text Placeholder 2">
            <a:extLst>
              <a:ext uri="{FF2B5EF4-FFF2-40B4-BE49-F238E27FC236}">
                <a16:creationId xmlns:a16="http://schemas.microsoft.com/office/drawing/2014/main" id="{4ED38853-A3A5-F226-B49E-05A38B554151}"/>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4" name="Text Placeholder 21">
            <a:extLst>
              <a:ext uri="{FF2B5EF4-FFF2-40B4-BE49-F238E27FC236}">
                <a16:creationId xmlns:a16="http://schemas.microsoft.com/office/drawing/2014/main" id="{88BF68E7-ED6F-FC9D-A677-D4639E98FB96}"/>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5" name="Text Placeholder 21">
            <a:extLst>
              <a:ext uri="{FF2B5EF4-FFF2-40B4-BE49-F238E27FC236}">
                <a16:creationId xmlns:a16="http://schemas.microsoft.com/office/drawing/2014/main" id="{8536A5CC-6919-C346-8278-48089D94E7D6}"/>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6" name="Text Placeholder 21">
            <a:extLst>
              <a:ext uri="{FF2B5EF4-FFF2-40B4-BE49-F238E27FC236}">
                <a16:creationId xmlns:a16="http://schemas.microsoft.com/office/drawing/2014/main" id="{795BBD97-7D8B-E8E2-4056-AC4565C7C724}"/>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7" name="Text Placeholder 21">
            <a:extLst>
              <a:ext uri="{FF2B5EF4-FFF2-40B4-BE49-F238E27FC236}">
                <a16:creationId xmlns:a16="http://schemas.microsoft.com/office/drawing/2014/main" id="{CCFB0E0B-66C7-5044-CD33-EF6B6A19E44C}"/>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8" name="Text Placeholder 21">
            <a:extLst>
              <a:ext uri="{FF2B5EF4-FFF2-40B4-BE49-F238E27FC236}">
                <a16:creationId xmlns:a16="http://schemas.microsoft.com/office/drawing/2014/main" id="{60D7F6EE-450B-E6D9-AFEF-21316CB2D26A}"/>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9" name="Text Placeholder 21">
            <a:extLst>
              <a:ext uri="{FF2B5EF4-FFF2-40B4-BE49-F238E27FC236}">
                <a16:creationId xmlns:a16="http://schemas.microsoft.com/office/drawing/2014/main" id="{69828F59-EC53-7823-CCAA-A5744FDD4F06}"/>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0" name="Text Placeholder 2">
            <a:extLst>
              <a:ext uri="{FF2B5EF4-FFF2-40B4-BE49-F238E27FC236}">
                <a16:creationId xmlns:a16="http://schemas.microsoft.com/office/drawing/2014/main" id="{8884FA05-DE73-C3B5-4B80-8236CDA7423F}"/>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1" name="Text Placeholder 2">
            <a:extLst>
              <a:ext uri="{FF2B5EF4-FFF2-40B4-BE49-F238E27FC236}">
                <a16:creationId xmlns:a16="http://schemas.microsoft.com/office/drawing/2014/main" id="{7BC44892-8B41-24EC-A62E-EEAD897A0F9E}"/>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2" name="Text Placeholder 2">
            <a:extLst>
              <a:ext uri="{FF2B5EF4-FFF2-40B4-BE49-F238E27FC236}">
                <a16:creationId xmlns:a16="http://schemas.microsoft.com/office/drawing/2014/main" id="{300BE16C-D0A6-BBB8-0B44-662CB27DADE9}"/>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3" name="Text Placeholder 2">
            <a:extLst>
              <a:ext uri="{FF2B5EF4-FFF2-40B4-BE49-F238E27FC236}">
                <a16:creationId xmlns:a16="http://schemas.microsoft.com/office/drawing/2014/main" id="{B6F01CD9-BBDF-39D9-0674-325ABFA7DAE4}"/>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4" name="Text Placeholder 2">
            <a:extLst>
              <a:ext uri="{FF2B5EF4-FFF2-40B4-BE49-F238E27FC236}">
                <a16:creationId xmlns:a16="http://schemas.microsoft.com/office/drawing/2014/main" id="{DFFAD1B6-166C-A334-731A-6941781E6396}"/>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5" name="Text Placeholder 2">
            <a:extLst>
              <a:ext uri="{FF2B5EF4-FFF2-40B4-BE49-F238E27FC236}">
                <a16:creationId xmlns:a16="http://schemas.microsoft.com/office/drawing/2014/main" id="{56A091F5-5825-7F0D-8038-1E050FE49F20}"/>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6" name="Text Placeholder 21">
            <a:extLst>
              <a:ext uri="{FF2B5EF4-FFF2-40B4-BE49-F238E27FC236}">
                <a16:creationId xmlns:a16="http://schemas.microsoft.com/office/drawing/2014/main" id="{F948C0F9-1A23-4FCF-0659-4230990A5BA3}"/>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7" name="Text Placeholder 21">
            <a:extLst>
              <a:ext uri="{FF2B5EF4-FFF2-40B4-BE49-F238E27FC236}">
                <a16:creationId xmlns:a16="http://schemas.microsoft.com/office/drawing/2014/main" id="{7D13D0DD-4F7E-3093-483E-1A84B89F9CCE}"/>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8" name="Text Placeholder 21">
            <a:extLst>
              <a:ext uri="{FF2B5EF4-FFF2-40B4-BE49-F238E27FC236}">
                <a16:creationId xmlns:a16="http://schemas.microsoft.com/office/drawing/2014/main" id="{635EFA66-5B30-9D10-C3BF-894ACBA78B4B}"/>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9" name="Text Placeholder 21">
            <a:extLst>
              <a:ext uri="{FF2B5EF4-FFF2-40B4-BE49-F238E27FC236}">
                <a16:creationId xmlns:a16="http://schemas.microsoft.com/office/drawing/2014/main" id="{AAEA7A56-8F9D-EC07-0205-320A91CA5070}"/>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0" name="Text Placeholder 21">
            <a:extLst>
              <a:ext uri="{FF2B5EF4-FFF2-40B4-BE49-F238E27FC236}">
                <a16:creationId xmlns:a16="http://schemas.microsoft.com/office/drawing/2014/main" id="{BD1AC00A-0673-92FD-E9F4-262336078E35}"/>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1" name="Text Placeholder 21">
            <a:extLst>
              <a:ext uri="{FF2B5EF4-FFF2-40B4-BE49-F238E27FC236}">
                <a16:creationId xmlns:a16="http://schemas.microsoft.com/office/drawing/2014/main" id="{0D6B694D-6912-2895-8D9B-46954606446A}"/>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2" name="Text Placeholder 2">
            <a:extLst>
              <a:ext uri="{FF2B5EF4-FFF2-40B4-BE49-F238E27FC236}">
                <a16:creationId xmlns:a16="http://schemas.microsoft.com/office/drawing/2014/main" id="{EDD714D7-4BF6-4E1A-08EB-0307E494ACC5}"/>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3" name="Text Placeholder 2">
            <a:extLst>
              <a:ext uri="{FF2B5EF4-FFF2-40B4-BE49-F238E27FC236}">
                <a16:creationId xmlns:a16="http://schemas.microsoft.com/office/drawing/2014/main" id="{4E52A7D8-66D9-634D-ECBC-934C8768E704}"/>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4" name="Text Placeholder 2">
            <a:extLst>
              <a:ext uri="{FF2B5EF4-FFF2-40B4-BE49-F238E27FC236}">
                <a16:creationId xmlns:a16="http://schemas.microsoft.com/office/drawing/2014/main" id="{72994B9C-F272-2BCF-6AFA-2289C4D3E16A}"/>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5" name="Text Placeholder 2">
            <a:extLst>
              <a:ext uri="{FF2B5EF4-FFF2-40B4-BE49-F238E27FC236}">
                <a16:creationId xmlns:a16="http://schemas.microsoft.com/office/drawing/2014/main" id="{26011C4D-2F0B-09E0-BDE5-95DF75FA335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6" name="Text Placeholder 2">
            <a:extLst>
              <a:ext uri="{FF2B5EF4-FFF2-40B4-BE49-F238E27FC236}">
                <a16:creationId xmlns:a16="http://schemas.microsoft.com/office/drawing/2014/main" id="{98ADD2C8-D4AB-E02C-5E8C-FD77BF3ACF57}"/>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7" name="Text Placeholder 2">
            <a:extLst>
              <a:ext uri="{FF2B5EF4-FFF2-40B4-BE49-F238E27FC236}">
                <a16:creationId xmlns:a16="http://schemas.microsoft.com/office/drawing/2014/main" id="{32E11DA6-B24D-77AD-A9EF-0ECD334AC6D2}"/>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8" name="Text Placeholder 21">
            <a:extLst>
              <a:ext uri="{FF2B5EF4-FFF2-40B4-BE49-F238E27FC236}">
                <a16:creationId xmlns:a16="http://schemas.microsoft.com/office/drawing/2014/main" id="{A601C23B-F664-0435-059E-3C36174BB05D}"/>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9" name="Text Placeholder 21">
            <a:extLst>
              <a:ext uri="{FF2B5EF4-FFF2-40B4-BE49-F238E27FC236}">
                <a16:creationId xmlns:a16="http://schemas.microsoft.com/office/drawing/2014/main" id="{3A4881E9-B59D-744D-7680-6241CD53C8AB}"/>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0" name="Text Placeholder 21">
            <a:extLst>
              <a:ext uri="{FF2B5EF4-FFF2-40B4-BE49-F238E27FC236}">
                <a16:creationId xmlns:a16="http://schemas.microsoft.com/office/drawing/2014/main" id="{7273B227-E524-C8E2-90A1-FA3B95A3DD1C}"/>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1" name="Text Placeholder 21">
            <a:extLst>
              <a:ext uri="{FF2B5EF4-FFF2-40B4-BE49-F238E27FC236}">
                <a16:creationId xmlns:a16="http://schemas.microsoft.com/office/drawing/2014/main" id="{324344DA-C059-F99B-09C6-D81B747381A8}"/>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2" name="Text Placeholder 21">
            <a:extLst>
              <a:ext uri="{FF2B5EF4-FFF2-40B4-BE49-F238E27FC236}">
                <a16:creationId xmlns:a16="http://schemas.microsoft.com/office/drawing/2014/main" id="{0F61582E-E252-C13F-6ABA-AB88C0429DD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3" name="Text Placeholder 21">
            <a:extLst>
              <a:ext uri="{FF2B5EF4-FFF2-40B4-BE49-F238E27FC236}">
                <a16:creationId xmlns:a16="http://schemas.microsoft.com/office/drawing/2014/main" id="{391F282F-66C5-8ED2-0730-8971458F2765}"/>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4" name="Text Placeholder 2">
            <a:extLst>
              <a:ext uri="{FF2B5EF4-FFF2-40B4-BE49-F238E27FC236}">
                <a16:creationId xmlns:a16="http://schemas.microsoft.com/office/drawing/2014/main" id="{AD5DD904-297F-E17A-5CD3-8CF827125CC4}"/>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5" name="Text Placeholder 2">
            <a:extLst>
              <a:ext uri="{FF2B5EF4-FFF2-40B4-BE49-F238E27FC236}">
                <a16:creationId xmlns:a16="http://schemas.microsoft.com/office/drawing/2014/main" id="{1D51F7ED-2BE6-9064-F24E-D930BC69B5DE}"/>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6" name="Text Placeholder 2">
            <a:extLst>
              <a:ext uri="{FF2B5EF4-FFF2-40B4-BE49-F238E27FC236}">
                <a16:creationId xmlns:a16="http://schemas.microsoft.com/office/drawing/2014/main" id="{29FD58FB-A03F-4C1F-68B0-8518C949FE69}"/>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7" name="Text Placeholder 2">
            <a:extLst>
              <a:ext uri="{FF2B5EF4-FFF2-40B4-BE49-F238E27FC236}">
                <a16:creationId xmlns:a16="http://schemas.microsoft.com/office/drawing/2014/main" id="{E8F4FC4B-6FC4-1EDE-6B4C-A44802DE6AD8}"/>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6" name="Text Placeholder 2">
            <a:extLst>
              <a:ext uri="{FF2B5EF4-FFF2-40B4-BE49-F238E27FC236}">
                <a16:creationId xmlns:a16="http://schemas.microsoft.com/office/drawing/2014/main" id="{6880872B-8BF0-1A64-5C61-306F45CCF40D}"/>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7" name="Text Placeholder 2">
            <a:extLst>
              <a:ext uri="{FF2B5EF4-FFF2-40B4-BE49-F238E27FC236}">
                <a16:creationId xmlns:a16="http://schemas.microsoft.com/office/drawing/2014/main" id="{2E2E55A4-346B-3049-D40A-C45DD40E0A84}"/>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8" name="Text Placeholder 21">
            <a:extLst>
              <a:ext uri="{FF2B5EF4-FFF2-40B4-BE49-F238E27FC236}">
                <a16:creationId xmlns:a16="http://schemas.microsoft.com/office/drawing/2014/main" id="{4432F617-154F-B4BC-484E-617AD0CBBBE5}"/>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9" name="Text Placeholder 21">
            <a:extLst>
              <a:ext uri="{FF2B5EF4-FFF2-40B4-BE49-F238E27FC236}">
                <a16:creationId xmlns:a16="http://schemas.microsoft.com/office/drawing/2014/main" id="{22D314A6-F9FE-F10D-A434-EC0D5A85398D}"/>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0" name="Text Placeholder 21">
            <a:extLst>
              <a:ext uri="{FF2B5EF4-FFF2-40B4-BE49-F238E27FC236}">
                <a16:creationId xmlns:a16="http://schemas.microsoft.com/office/drawing/2014/main" id="{A6017F4C-6C3E-4AEF-4DCD-B7A18CF8E2F1}"/>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1" name="Text Placeholder 21">
            <a:extLst>
              <a:ext uri="{FF2B5EF4-FFF2-40B4-BE49-F238E27FC236}">
                <a16:creationId xmlns:a16="http://schemas.microsoft.com/office/drawing/2014/main" id="{E581266A-17F0-9B0E-EB5C-216CB1B6B51E}"/>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2" name="Text Placeholder 21">
            <a:extLst>
              <a:ext uri="{FF2B5EF4-FFF2-40B4-BE49-F238E27FC236}">
                <a16:creationId xmlns:a16="http://schemas.microsoft.com/office/drawing/2014/main" id="{5F6160BC-CEF6-C12B-4D31-87623C1CB725}"/>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3" name="Text Placeholder 21">
            <a:extLst>
              <a:ext uri="{FF2B5EF4-FFF2-40B4-BE49-F238E27FC236}">
                <a16:creationId xmlns:a16="http://schemas.microsoft.com/office/drawing/2014/main" id="{CC9C72E4-2E08-EBBD-A4F5-04BAF2B117FF}"/>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4" name="Text Placeholder 2">
            <a:extLst>
              <a:ext uri="{FF2B5EF4-FFF2-40B4-BE49-F238E27FC236}">
                <a16:creationId xmlns:a16="http://schemas.microsoft.com/office/drawing/2014/main" id="{0383E527-84E1-3DA5-0AA3-6A4D31A797A2}"/>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5" name="Text Placeholder 2">
            <a:extLst>
              <a:ext uri="{FF2B5EF4-FFF2-40B4-BE49-F238E27FC236}">
                <a16:creationId xmlns:a16="http://schemas.microsoft.com/office/drawing/2014/main" id="{AEAC77A4-133A-D44F-C244-4A39CF3DB3E3}"/>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6" name="Text Placeholder 2">
            <a:extLst>
              <a:ext uri="{FF2B5EF4-FFF2-40B4-BE49-F238E27FC236}">
                <a16:creationId xmlns:a16="http://schemas.microsoft.com/office/drawing/2014/main" id="{F4BDD8B4-F5A5-8DF2-195D-2CC66DC16BED}"/>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7" name="Text Placeholder 2">
            <a:extLst>
              <a:ext uri="{FF2B5EF4-FFF2-40B4-BE49-F238E27FC236}">
                <a16:creationId xmlns:a16="http://schemas.microsoft.com/office/drawing/2014/main" id="{C556C2C8-F9FA-040D-1860-283FF44CE73B}"/>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8" name="Text Placeholder 2">
            <a:extLst>
              <a:ext uri="{FF2B5EF4-FFF2-40B4-BE49-F238E27FC236}">
                <a16:creationId xmlns:a16="http://schemas.microsoft.com/office/drawing/2014/main" id="{3A45FBCF-5423-4DC0-30CC-7F2BF9CB477F}"/>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9" name="Text Placeholder 2">
            <a:extLst>
              <a:ext uri="{FF2B5EF4-FFF2-40B4-BE49-F238E27FC236}">
                <a16:creationId xmlns:a16="http://schemas.microsoft.com/office/drawing/2014/main" id="{106D6837-73C7-4359-8029-8297CC97EA0F}"/>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0" name="Text Placeholder 21">
            <a:extLst>
              <a:ext uri="{FF2B5EF4-FFF2-40B4-BE49-F238E27FC236}">
                <a16:creationId xmlns:a16="http://schemas.microsoft.com/office/drawing/2014/main" id="{1ECD3C8C-BB4E-E440-4CCC-B78B0F5472AF}"/>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1" name="Text Placeholder 2">
            <a:extLst>
              <a:ext uri="{FF2B5EF4-FFF2-40B4-BE49-F238E27FC236}">
                <a16:creationId xmlns:a16="http://schemas.microsoft.com/office/drawing/2014/main" id="{2D2F708B-EE2F-6B14-B7E2-0287A16D928F}"/>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2" name="Text Placeholder 21">
            <a:extLst>
              <a:ext uri="{FF2B5EF4-FFF2-40B4-BE49-F238E27FC236}">
                <a16:creationId xmlns:a16="http://schemas.microsoft.com/office/drawing/2014/main" id="{DF1DCDA6-6E22-ADD3-E714-ED3EB525729B}"/>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3" name="Text Placeholder 21">
            <a:extLst>
              <a:ext uri="{FF2B5EF4-FFF2-40B4-BE49-F238E27FC236}">
                <a16:creationId xmlns:a16="http://schemas.microsoft.com/office/drawing/2014/main" id="{20A80515-C4C8-B122-B6AE-064D54A0FDA0}"/>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4" name="Text Placeholder 21">
            <a:extLst>
              <a:ext uri="{FF2B5EF4-FFF2-40B4-BE49-F238E27FC236}">
                <a16:creationId xmlns:a16="http://schemas.microsoft.com/office/drawing/2014/main" id="{5E7F32FC-19FB-9C3B-0EBB-CBD603C0E1BD}"/>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5" name="Text Placeholder 21">
            <a:extLst>
              <a:ext uri="{FF2B5EF4-FFF2-40B4-BE49-F238E27FC236}">
                <a16:creationId xmlns:a16="http://schemas.microsoft.com/office/drawing/2014/main" id="{69FB3330-BD04-92DD-C3C2-21956986F763}"/>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6" name="Text Placeholder 21">
            <a:extLst>
              <a:ext uri="{FF2B5EF4-FFF2-40B4-BE49-F238E27FC236}">
                <a16:creationId xmlns:a16="http://schemas.microsoft.com/office/drawing/2014/main" id="{7013CD35-159E-97CA-C7D9-2548E634D81F}"/>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7" name="Text Placeholder 2">
            <a:extLst>
              <a:ext uri="{FF2B5EF4-FFF2-40B4-BE49-F238E27FC236}">
                <a16:creationId xmlns:a16="http://schemas.microsoft.com/office/drawing/2014/main" id="{BE199233-6082-F221-453B-D69BDB6D5AB1}"/>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8" name="Text Placeholder 2">
            <a:extLst>
              <a:ext uri="{FF2B5EF4-FFF2-40B4-BE49-F238E27FC236}">
                <a16:creationId xmlns:a16="http://schemas.microsoft.com/office/drawing/2014/main" id="{F6EA5D49-3144-DC4E-077B-662951553B95}"/>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9" name="Text Placeholder 2">
            <a:extLst>
              <a:ext uri="{FF2B5EF4-FFF2-40B4-BE49-F238E27FC236}">
                <a16:creationId xmlns:a16="http://schemas.microsoft.com/office/drawing/2014/main" id="{C009099B-61E9-992C-0BE4-202E04CD584E}"/>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0" name="Text Placeholder 2">
            <a:extLst>
              <a:ext uri="{FF2B5EF4-FFF2-40B4-BE49-F238E27FC236}">
                <a16:creationId xmlns:a16="http://schemas.microsoft.com/office/drawing/2014/main" id="{5EFE00A1-820E-419A-8C31-CB7A4D917D28}"/>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1" name="Text Placeholder 2">
            <a:extLst>
              <a:ext uri="{FF2B5EF4-FFF2-40B4-BE49-F238E27FC236}">
                <a16:creationId xmlns:a16="http://schemas.microsoft.com/office/drawing/2014/main" id="{8CCFE3D7-BBE6-A4BD-0EB9-718DD1A7AA32}"/>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11035317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1ED6102-FB49-D2BB-0785-B3FD3FE62F93}"/>
              </a:ext>
            </a:extLst>
          </p:cNvPr>
          <p:cNvGrpSpPr/>
          <p:nvPr userDrawn="1"/>
        </p:nvGrpSpPr>
        <p:grpSpPr>
          <a:xfrm>
            <a:off x="8974422" y="2044865"/>
            <a:ext cx="2861978" cy="2947386"/>
            <a:chOff x="8974422" y="2044865"/>
            <a:chExt cx="2861978" cy="2947386"/>
          </a:xfrm>
        </p:grpSpPr>
        <p:grpSp>
          <p:nvGrpSpPr>
            <p:cNvPr id="2" name="Group 94">
              <a:extLst>
                <a:ext uri="{FF2B5EF4-FFF2-40B4-BE49-F238E27FC236}">
                  <a16:creationId xmlns:a16="http://schemas.microsoft.com/office/drawing/2014/main" id="{813CAA63-EAE7-3B3A-3FE0-0AAB5EAA5175}"/>
                </a:ext>
              </a:extLst>
            </p:cNvPr>
            <p:cNvGrpSpPr>
              <a:grpSpLocks noChangeAspect="1"/>
            </p:cNvGrpSpPr>
            <p:nvPr userDrawn="1"/>
          </p:nvGrpSpPr>
          <p:grpSpPr bwMode="auto">
            <a:xfrm>
              <a:off x="8974422" y="3551428"/>
              <a:ext cx="1890211" cy="1440823"/>
              <a:chOff x="2596" y="1948"/>
              <a:chExt cx="408" cy="311"/>
            </a:xfrm>
            <a:solidFill>
              <a:schemeClr val="accent1">
                <a:lumMod val="40000"/>
                <a:lumOff val="60000"/>
              </a:schemeClr>
            </a:solidFill>
          </p:grpSpPr>
          <p:sp>
            <p:nvSpPr>
              <p:cNvPr id="3" name="Freeform 95">
                <a:extLst>
                  <a:ext uri="{FF2B5EF4-FFF2-40B4-BE49-F238E27FC236}">
                    <a16:creationId xmlns:a16="http://schemas.microsoft.com/office/drawing/2014/main" id="{EE1802C5-B02C-A916-15C9-73885CCD0871}"/>
                  </a:ext>
                </a:extLst>
              </p:cNvPr>
              <p:cNvSpPr>
                <a:spLocks noEditPoints="1"/>
              </p:cNvSpPr>
              <p:nvPr/>
            </p:nvSpPr>
            <p:spPr bwMode="auto">
              <a:xfrm>
                <a:off x="2596" y="1948"/>
                <a:ext cx="298" cy="311"/>
              </a:xfrm>
              <a:custGeom>
                <a:avLst/>
                <a:gdLst>
                  <a:gd name="T0" fmla="*/ 171 w 194"/>
                  <a:gd name="T1" fmla="*/ 152 h 208"/>
                  <a:gd name="T2" fmla="*/ 127 w 194"/>
                  <a:gd name="T3" fmla="*/ 136 h 208"/>
                  <a:gd name="T4" fmla="*/ 127 w 194"/>
                  <a:gd name="T5" fmla="*/ 115 h 208"/>
                  <a:gd name="T6" fmla="*/ 149 w 194"/>
                  <a:gd name="T7" fmla="*/ 64 h 208"/>
                  <a:gd name="T8" fmla="*/ 95 w 194"/>
                  <a:gd name="T9" fmla="*/ 0 h 208"/>
                  <a:gd name="T10" fmla="*/ 42 w 194"/>
                  <a:gd name="T11" fmla="*/ 64 h 208"/>
                  <a:gd name="T12" fmla="*/ 66 w 194"/>
                  <a:gd name="T13" fmla="*/ 117 h 208"/>
                  <a:gd name="T14" fmla="*/ 66 w 194"/>
                  <a:gd name="T15" fmla="*/ 136 h 208"/>
                  <a:gd name="T16" fmla="*/ 23 w 194"/>
                  <a:gd name="T17" fmla="*/ 152 h 208"/>
                  <a:gd name="T18" fmla="*/ 0 w 194"/>
                  <a:gd name="T19" fmla="*/ 184 h 208"/>
                  <a:gd name="T20" fmla="*/ 0 w 194"/>
                  <a:gd name="T21" fmla="*/ 202 h 208"/>
                  <a:gd name="T22" fmla="*/ 6 w 194"/>
                  <a:gd name="T23" fmla="*/ 208 h 208"/>
                  <a:gd name="T24" fmla="*/ 188 w 194"/>
                  <a:gd name="T25" fmla="*/ 208 h 208"/>
                  <a:gd name="T26" fmla="*/ 194 w 194"/>
                  <a:gd name="T27" fmla="*/ 202 h 208"/>
                  <a:gd name="T28" fmla="*/ 194 w 194"/>
                  <a:gd name="T29" fmla="*/ 184 h 208"/>
                  <a:gd name="T30" fmla="*/ 171 w 194"/>
                  <a:gd name="T31" fmla="*/ 152 h 208"/>
                  <a:gd name="T32" fmla="*/ 95 w 194"/>
                  <a:gd name="T33" fmla="*/ 12 h 208"/>
                  <a:gd name="T34" fmla="*/ 136 w 194"/>
                  <a:gd name="T35" fmla="*/ 53 h 208"/>
                  <a:gd name="T36" fmla="*/ 108 w 194"/>
                  <a:gd name="T37" fmla="*/ 37 h 208"/>
                  <a:gd name="T38" fmla="*/ 103 w 194"/>
                  <a:gd name="T39" fmla="*/ 34 h 208"/>
                  <a:gd name="T40" fmla="*/ 97 w 194"/>
                  <a:gd name="T41" fmla="*/ 38 h 208"/>
                  <a:gd name="T42" fmla="*/ 67 w 194"/>
                  <a:gd name="T43" fmla="*/ 53 h 208"/>
                  <a:gd name="T44" fmla="*/ 55 w 194"/>
                  <a:gd name="T45" fmla="*/ 51 h 208"/>
                  <a:gd name="T46" fmla="*/ 95 w 194"/>
                  <a:gd name="T47" fmla="*/ 12 h 208"/>
                  <a:gd name="T48" fmla="*/ 54 w 194"/>
                  <a:gd name="T49" fmla="*/ 64 h 208"/>
                  <a:gd name="T50" fmla="*/ 54 w 194"/>
                  <a:gd name="T51" fmla="*/ 63 h 208"/>
                  <a:gd name="T52" fmla="*/ 67 w 194"/>
                  <a:gd name="T53" fmla="*/ 65 h 208"/>
                  <a:gd name="T54" fmla="*/ 102 w 194"/>
                  <a:gd name="T55" fmla="*/ 51 h 208"/>
                  <a:gd name="T56" fmla="*/ 130 w 194"/>
                  <a:gd name="T57" fmla="*/ 66 h 208"/>
                  <a:gd name="T58" fmla="*/ 137 w 194"/>
                  <a:gd name="T59" fmla="*/ 65 h 208"/>
                  <a:gd name="T60" fmla="*/ 95 w 194"/>
                  <a:gd name="T61" fmla="*/ 115 h 208"/>
                  <a:gd name="T62" fmla="*/ 54 w 194"/>
                  <a:gd name="T63" fmla="*/ 64 h 208"/>
                  <a:gd name="T64" fmla="*/ 182 w 194"/>
                  <a:gd name="T65" fmla="*/ 196 h 208"/>
                  <a:gd name="T66" fmla="*/ 12 w 194"/>
                  <a:gd name="T67" fmla="*/ 196 h 208"/>
                  <a:gd name="T68" fmla="*/ 12 w 194"/>
                  <a:gd name="T69" fmla="*/ 184 h 208"/>
                  <a:gd name="T70" fmla="*/ 27 w 194"/>
                  <a:gd name="T71" fmla="*/ 163 h 208"/>
                  <a:gd name="T72" fmla="*/ 74 w 194"/>
                  <a:gd name="T73" fmla="*/ 146 h 208"/>
                  <a:gd name="T74" fmla="*/ 78 w 194"/>
                  <a:gd name="T75" fmla="*/ 140 h 208"/>
                  <a:gd name="T76" fmla="*/ 78 w 194"/>
                  <a:gd name="T77" fmla="*/ 124 h 208"/>
                  <a:gd name="T78" fmla="*/ 95 w 194"/>
                  <a:gd name="T79" fmla="*/ 127 h 208"/>
                  <a:gd name="T80" fmla="*/ 115 w 194"/>
                  <a:gd name="T81" fmla="*/ 123 h 208"/>
                  <a:gd name="T82" fmla="*/ 115 w 194"/>
                  <a:gd name="T83" fmla="*/ 140 h 208"/>
                  <a:gd name="T84" fmla="*/ 119 w 194"/>
                  <a:gd name="T85" fmla="*/ 146 h 208"/>
                  <a:gd name="T86" fmla="*/ 167 w 194"/>
                  <a:gd name="T87" fmla="*/ 163 h 208"/>
                  <a:gd name="T88" fmla="*/ 182 w 194"/>
                  <a:gd name="T89" fmla="*/ 184 h 208"/>
                  <a:gd name="T90" fmla="*/ 182 w 194"/>
                  <a:gd name="T91" fmla="*/ 19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208">
                    <a:moveTo>
                      <a:pt x="171" y="152"/>
                    </a:moveTo>
                    <a:cubicBezTo>
                      <a:pt x="127" y="136"/>
                      <a:pt x="127" y="136"/>
                      <a:pt x="127" y="136"/>
                    </a:cubicBezTo>
                    <a:cubicBezTo>
                      <a:pt x="127" y="115"/>
                      <a:pt x="127" y="115"/>
                      <a:pt x="127" y="115"/>
                    </a:cubicBezTo>
                    <a:cubicBezTo>
                      <a:pt x="141" y="103"/>
                      <a:pt x="149" y="85"/>
                      <a:pt x="149" y="64"/>
                    </a:cubicBezTo>
                    <a:cubicBezTo>
                      <a:pt x="149" y="29"/>
                      <a:pt x="125" y="0"/>
                      <a:pt x="95" y="0"/>
                    </a:cubicBezTo>
                    <a:cubicBezTo>
                      <a:pt x="66" y="0"/>
                      <a:pt x="42" y="29"/>
                      <a:pt x="42" y="64"/>
                    </a:cubicBezTo>
                    <a:cubicBezTo>
                      <a:pt x="42" y="86"/>
                      <a:pt x="51" y="106"/>
                      <a:pt x="66" y="117"/>
                    </a:cubicBezTo>
                    <a:cubicBezTo>
                      <a:pt x="66" y="136"/>
                      <a:pt x="66" y="136"/>
                      <a:pt x="66" y="136"/>
                    </a:cubicBezTo>
                    <a:cubicBezTo>
                      <a:pt x="23" y="152"/>
                      <a:pt x="23" y="152"/>
                      <a:pt x="23" y="152"/>
                    </a:cubicBezTo>
                    <a:cubicBezTo>
                      <a:pt x="9" y="156"/>
                      <a:pt x="0" y="170"/>
                      <a:pt x="0" y="184"/>
                    </a:cubicBezTo>
                    <a:cubicBezTo>
                      <a:pt x="0" y="202"/>
                      <a:pt x="0" y="202"/>
                      <a:pt x="0" y="202"/>
                    </a:cubicBezTo>
                    <a:cubicBezTo>
                      <a:pt x="0" y="206"/>
                      <a:pt x="2" y="208"/>
                      <a:pt x="6" y="208"/>
                    </a:cubicBezTo>
                    <a:cubicBezTo>
                      <a:pt x="188" y="208"/>
                      <a:pt x="188" y="208"/>
                      <a:pt x="188" y="208"/>
                    </a:cubicBezTo>
                    <a:cubicBezTo>
                      <a:pt x="191" y="208"/>
                      <a:pt x="194" y="206"/>
                      <a:pt x="194" y="202"/>
                    </a:cubicBezTo>
                    <a:cubicBezTo>
                      <a:pt x="194" y="184"/>
                      <a:pt x="194" y="184"/>
                      <a:pt x="194" y="184"/>
                    </a:cubicBezTo>
                    <a:cubicBezTo>
                      <a:pt x="194" y="170"/>
                      <a:pt x="184" y="156"/>
                      <a:pt x="171" y="152"/>
                    </a:cubicBezTo>
                    <a:close/>
                    <a:moveTo>
                      <a:pt x="95" y="12"/>
                    </a:moveTo>
                    <a:cubicBezTo>
                      <a:pt x="116" y="12"/>
                      <a:pt x="132" y="30"/>
                      <a:pt x="136" y="53"/>
                    </a:cubicBezTo>
                    <a:cubicBezTo>
                      <a:pt x="124" y="55"/>
                      <a:pt x="116" y="51"/>
                      <a:pt x="108" y="37"/>
                    </a:cubicBezTo>
                    <a:cubicBezTo>
                      <a:pt x="107" y="35"/>
                      <a:pt x="105" y="34"/>
                      <a:pt x="103" y="34"/>
                    </a:cubicBezTo>
                    <a:cubicBezTo>
                      <a:pt x="100" y="34"/>
                      <a:pt x="98" y="36"/>
                      <a:pt x="97" y="38"/>
                    </a:cubicBezTo>
                    <a:cubicBezTo>
                      <a:pt x="93" y="45"/>
                      <a:pt x="79" y="53"/>
                      <a:pt x="67" y="53"/>
                    </a:cubicBezTo>
                    <a:cubicBezTo>
                      <a:pt x="62" y="53"/>
                      <a:pt x="59" y="52"/>
                      <a:pt x="55" y="51"/>
                    </a:cubicBezTo>
                    <a:cubicBezTo>
                      <a:pt x="60" y="29"/>
                      <a:pt x="76" y="12"/>
                      <a:pt x="95" y="12"/>
                    </a:cubicBezTo>
                    <a:close/>
                    <a:moveTo>
                      <a:pt x="54" y="64"/>
                    </a:moveTo>
                    <a:cubicBezTo>
                      <a:pt x="54" y="63"/>
                      <a:pt x="54" y="63"/>
                      <a:pt x="54" y="63"/>
                    </a:cubicBezTo>
                    <a:cubicBezTo>
                      <a:pt x="58" y="64"/>
                      <a:pt x="62" y="65"/>
                      <a:pt x="67" y="65"/>
                    </a:cubicBezTo>
                    <a:cubicBezTo>
                      <a:pt x="80" y="65"/>
                      <a:pt x="94" y="59"/>
                      <a:pt x="102" y="51"/>
                    </a:cubicBezTo>
                    <a:cubicBezTo>
                      <a:pt x="110" y="61"/>
                      <a:pt x="119" y="66"/>
                      <a:pt x="130" y="66"/>
                    </a:cubicBezTo>
                    <a:cubicBezTo>
                      <a:pt x="133" y="66"/>
                      <a:pt x="135" y="65"/>
                      <a:pt x="137" y="65"/>
                    </a:cubicBezTo>
                    <a:cubicBezTo>
                      <a:pt x="137" y="93"/>
                      <a:pt x="118" y="115"/>
                      <a:pt x="95" y="115"/>
                    </a:cubicBezTo>
                    <a:cubicBezTo>
                      <a:pt x="72" y="115"/>
                      <a:pt x="54" y="92"/>
                      <a:pt x="54" y="64"/>
                    </a:cubicBezTo>
                    <a:close/>
                    <a:moveTo>
                      <a:pt x="182" y="196"/>
                    </a:moveTo>
                    <a:cubicBezTo>
                      <a:pt x="12" y="196"/>
                      <a:pt x="12" y="196"/>
                      <a:pt x="12" y="196"/>
                    </a:cubicBezTo>
                    <a:cubicBezTo>
                      <a:pt x="12" y="184"/>
                      <a:pt x="12" y="184"/>
                      <a:pt x="12" y="184"/>
                    </a:cubicBezTo>
                    <a:cubicBezTo>
                      <a:pt x="12" y="175"/>
                      <a:pt x="18" y="166"/>
                      <a:pt x="27" y="163"/>
                    </a:cubicBezTo>
                    <a:cubicBezTo>
                      <a:pt x="74" y="146"/>
                      <a:pt x="74" y="146"/>
                      <a:pt x="74" y="146"/>
                    </a:cubicBezTo>
                    <a:cubicBezTo>
                      <a:pt x="77" y="145"/>
                      <a:pt x="78" y="143"/>
                      <a:pt x="78" y="140"/>
                    </a:cubicBezTo>
                    <a:cubicBezTo>
                      <a:pt x="78" y="124"/>
                      <a:pt x="78" y="124"/>
                      <a:pt x="78" y="124"/>
                    </a:cubicBezTo>
                    <a:cubicBezTo>
                      <a:pt x="84" y="126"/>
                      <a:pt x="90" y="127"/>
                      <a:pt x="95" y="127"/>
                    </a:cubicBezTo>
                    <a:cubicBezTo>
                      <a:pt x="102" y="127"/>
                      <a:pt x="109" y="125"/>
                      <a:pt x="115" y="123"/>
                    </a:cubicBezTo>
                    <a:cubicBezTo>
                      <a:pt x="115" y="140"/>
                      <a:pt x="115" y="140"/>
                      <a:pt x="115" y="140"/>
                    </a:cubicBezTo>
                    <a:cubicBezTo>
                      <a:pt x="115" y="143"/>
                      <a:pt x="116" y="145"/>
                      <a:pt x="119" y="146"/>
                    </a:cubicBezTo>
                    <a:cubicBezTo>
                      <a:pt x="167" y="163"/>
                      <a:pt x="167" y="163"/>
                      <a:pt x="167" y="163"/>
                    </a:cubicBezTo>
                    <a:cubicBezTo>
                      <a:pt x="176" y="166"/>
                      <a:pt x="182" y="175"/>
                      <a:pt x="182" y="184"/>
                    </a:cubicBezTo>
                    <a:lnTo>
                      <a:pt x="182"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 name="Freeform 96">
                <a:extLst>
                  <a:ext uri="{FF2B5EF4-FFF2-40B4-BE49-F238E27FC236}">
                    <a16:creationId xmlns:a16="http://schemas.microsoft.com/office/drawing/2014/main" id="{041D8A7C-D08D-989F-F53D-E8BB404A0FCA}"/>
                  </a:ext>
                </a:extLst>
              </p:cNvPr>
              <p:cNvSpPr>
                <a:spLocks/>
              </p:cNvSpPr>
              <p:nvPr/>
            </p:nvSpPr>
            <p:spPr bwMode="auto">
              <a:xfrm>
                <a:off x="2845" y="1948"/>
                <a:ext cx="159" cy="311"/>
              </a:xfrm>
              <a:custGeom>
                <a:avLst/>
                <a:gdLst>
                  <a:gd name="T0" fmla="*/ 81 w 104"/>
                  <a:gd name="T1" fmla="*/ 152 h 208"/>
                  <a:gd name="T2" fmla="*/ 38 w 104"/>
                  <a:gd name="T3" fmla="*/ 136 h 208"/>
                  <a:gd name="T4" fmla="*/ 38 w 104"/>
                  <a:gd name="T5" fmla="*/ 115 h 208"/>
                  <a:gd name="T6" fmla="*/ 60 w 104"/>
                  <a:gd name="T7" fmla="*/ 64 h 208"/>
                  <a:gd name="T8" fmla="*/ 6 w 104"/>
                  <a:gd name="T9" fmla="*/ 0 h 208"/>
                  <a:gd name="T10" fmla="*/ 0 w 104"/>
                  <a:gd name="T11" fmla="*/ 6 h 208"/>
                  <a:gd name="T12" fmla="*/ 6 w 104"/>
                  <a:gd name="T13" fmla="*/ 12 h 208"/>
                  <a:gd name="T14" fmla="*/ 47 w 104"/>
                  <a:gd name="T15" fmla="*/ 53 h 208"/>
                  <a:gd name="T16" fmla="*/ 19 w 104"/>
                  <a:gd name="T17" fmla="*/ 37 h 208"/>
                  <a:gd name="T18" fmla="*/ 10 w 104"/>
                  <a:gd name="T19" fmla="*/ 35 h 208"/>
                  <a:gd name="T20" fmla="*/ 8 w 104"/>
                  <a:gd name="T21" fmla="*/ 43 h 208"/>
                  <a:gd name="T22" fmla="*/ 41 w 104"/>
                  <a:gd name="T23" fmla="*/ 66 h 208"/>
                  <a:gd name="T24" fmla="*/ 48 w 104"/>
                  <a:gd name="T25" fmla="*/ 65 h 208"/>
                  <a:gd name="T26" fmla="*/ 6 w 104"/>
                  <a:gd name="T27" fmla="*/ 115 h 208"/>
                  <a:gd name="T28" fmla="*/ 0 w 104"/>
                  <a:gd name="T29" fmla="*/ 121 h 208"/>
                  <a:gd name="T30" fmla="*/ 6 w 104"/>
                  <a:gd name="T31" fmla="*/ 127 h 208"/>
                  <a:gd name="T32" fmla="*/ 26 w 104"/>
                  <a:gd name="T33" fmla="*/ 123 h 208"/>
                  <a:gd name="T34" fmla="*/ 26 w 104"/>
                  <a:gd name="T35" fmla="*/ 140 h 208"/>
                  <a:gd name="T36" fmla="*/ 30 w 104"/>
                  <a:gd name="T37" fmla="*/ 146 h 208"/>
                  <a:gd name="T38" fmla="*/ 77 w 104"/>
                  <a:gd name="T39" fmla="*/ 163 h 208"/>
                  <a:gd name="T40" fmla="*/ 92 w 104"/>
                  <a:gd name="T41" fmla="*/ 184 h 208"/>
                  <a:gd name="T42" fmla="*/ 92 w 104"/>
                  <a:gd name="T43" fmla="*/ 196 h 208"/>
                  <a:gd name="T44" fmla="*/ 56 w 104"/>
                  <a:gd name="T45" fmla="*/ 196 h 208"/>
                  <a:gd name="T46" fmla="*/ 50 w 104"/>
                  <a:gd name="T47" fmla="*/ 202 h 208"/>
                  <a:gd name="T48" fmla="*/ 56 w 104"/>
                  <a:gd name="T49" fmla="*/ 208 h 208"/>
                  <a:gd name="T50" fmla="*/ 98 w 104"/>
                  <a:gd name="T51" fmla="*/ 208 h 208"/>
                  <a:gd name="T52" fmla="*/ 104 w 104"/>
                  <a:gd name="T53" fmla="*/ 202 h 208"/>
                  <a:gd name="T54" fmla="*/ 104 w 104"/>
                  <a:gd name="T55" fmla="*/ 184 h 208"/>
                  <a:gd name="T56" fmla="*/ 81 w 104"/>
                  <a:gd name="T57" fmla="*/ 15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 h="208">
                    <a:moveTo>
                      <a:pt x="81" y="152"/>
                    </a:moveTo>
                    <a:cubicBezTo>
                      <a:pt x="38" y="136"/>
                      <a:pt x="38" y="136"/>
                      <a:pt x="38" y="136"/>
                    </a:cubicBezTo>
                    <a:cubicBezTo>
                      <a:pt x="38" y="115"/>
                      <a:pt x="38" y="115"/>
                      <a:pt x="38" y="115"/>
                    </a:cubicBezTo>
                    <a:cubicBezTo>
                      <a:pt x="51" y="103"/>
                      <a:pt x="60" y="85"/>
                      <a:pt x="60" y="64"/>
                    </a:cubicBezTo>
                    <a:cubicBezTo>
                      <a:pt x="60" y="29"/>
                      <a:pt x="36" y="0"/>
                      <a:pt x="6" y="0"/>
                    </a:cubicBezTo>
                    <a:cubicBezTo>
                      <a:pt x="3" y="0"/>
                      <a:pt x="0" y="3"/>
                      <a:pt x="0" y="6"/>
                    </a:cubicBezTo>
                    <a:cubicBezTo>
                      <a:pt x="0" y="9"/>
                      <a:pt x="3" y="12"/>
                      <a:pt x="6" y="12"/>
                    </a:cubicBezTo>
                    <a:cubicBezTo>
                      <a:pt x="26" y="12"/>
                      <a:pt x="43" y="30"/>
                      <a:pt x="47" y="53"/>
                    </a:cubicBezTo>
                    <a:cubicBezTo>
                      <a:pt x="34" y="55"/>
                      <a:pt x="26" y="51"/>
                      <a:pt x="19" y="37"/>
                    </a:cubicBezTo>
                    <a:cubicBezTo>
                      <a:pt x="17" y="34"/>
                      <a:pt x="13" y="33"/>
                      <a:pt x="10" y="35"/>
                    </a:cubicBezTo>
                    <a:cubicBezTo>
                      <a:pt x="7" y="37"/>
                      <a:pt x="6" y="40"/>
                      <a:pt x="8" y="43"/>
                    </a:cubicBezTo>
                    <a:cubicBezTo>
                      <a:pt x="17" y="59"/>
                      <a:pt x="27" y="66"/>
                      <a:pt x="41" y="66"/>
                    </a:cubicBezTo>
                    <a:cubicBezTo>
                      <a:pt x="43" y="66"/>
                      <a:pt x="46" y="65"/>
                      <a:pt x="48" y="65"/>
                    </a:cubicBezTo>
                    <a:cubicBezTo>
                      <a:pt x="47" y="93"/>
                      <a:pt x="29" y="115"/>
                      <a:pt x="6" y="115"/>
                    </a:cubicBezTo>
                    <a:cubicBezTo>
                      <a:pt x="3" y="115"/>
                      <a:pt x="0" y="118"/>
                      <a:pt x="0" y="121"/>
                    </a:cubicBezTo>
                    <a:cubicBezTo>
                      <a:pt x="0" y="124"/>
                      <a:pt x="3" y="127"/>
                      <a:pt x="6" y="127"/>
                    </a:cubicBezTo>
                    <a:cubicBezTo>
                      <a:pt x="13" y="127"/>
                      <a:pt x="20" y="125"/>
                      <a:pt x="26" y="123"/>
                    </a:cubicBezTo>
                    <a:cubicBezTo>
                      <a:pt x="26" y="140"/>
                      <a:pt x="26" y="140"/>
                      <a:pt x="26" y="140"/>
                    </a:cubicBezTo>
                    <a:cubicBezTo>
                      <a:pt x="26" y="143"/>
                      <a:pt x="27" y="145"/>
                      <a:pt x="30" y="146"/>
                    </a:cubicBezTo>
                    <a:cubicBezTo>
                      <a:pt x="77" y="163"/>
                      <a:pt x="77" y="163"/>
                      <a:pt x="77" y="163"/>
                    </a:cubicBezTo>
                    <a:cubicBezTo>
                      <a:pt x="86" y="166"/>
                      <a:pt x="92" y="175"/>
                      <a:pt x="92" y="184"/>
                    </a:cubicBezTo>
                    <a:cubicBezTo>
                      <a:pt x="92" y="196"/>
                      <a:pt x="92" y="196"/>
                      <a:pt x="92" y="196"/>
                    </a:cubicBezTo>
                    <a:cubicBezTo>
                      <a:pt x="56" y="196"/>
                      <a:pt x="56" y="196"/>
                      <a:pt x="56" y="196"/>
                    </a:cubicBezTo>
                    <a:cubicBezTo>
                      <a:pt x="53" y="196"/>
                      <a:pt x="50" y="199"/>
                      <a:pt x="50" y="202"/>
                    </a:cubicBezTo>
                    <a:cubicBezTo>
                      <a:pt x="50" y="206"/>
                      <a:pt x="53" y="208"/>
                      <a:pt x="56" y="208"/>
                    </a:cubicBezTo>
                    <a:cubicBezTo>
                      <a:pt x="98" y="208"/>
                      <a:pt x="98" y="208"/>
                      <a:pt x="98" y="208"/>
                    </a:cubicBezTo>
                    <a:cubicBezTo>
                      <a:pt x="102" y="208"/>
                      <a:pt x="104" y="206"/>
                      <a:pt x="104" y="202"/>
                    </a:cubicBezTo>
                    <a:cubicBezTo>
                      <a:pt x="104" y="184"/>
                      <a:pt x="104" y="184"/>
                      <a:pt x="104" y="184"/>
                    </a:cubicBezTo>
                    <a:cubicBezTo>
                      <a:pt x="104" y="170"/>
                      <a:pt x="95" y="156"/>
                      <a:pt x="81"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 name="Freeform 89">
              <a:extLst>
                <a:ext uri="{FF2B5EF4-FFF2-40B4-BE49-F238E27FC236}">
                  <a16:creationId xmlns:a16="http://schemas.microsoft.com/office/drawing/2014/main" id="{BF7FB4C7-CCEB-161D-C2DD-ABF5290BF315}"/>
                </a:ext>
              </a:extLst>
            </p:cNvPr>
            <p:cNvSpPr>
              <a:spLocks noEditPoints="1"/>
            </p:cNvSpPr>
            <p:nvPr userDrawn="1"/>
          </p:nvSpPr>
          <p:spPr bwMode="auto">
            <a:xfrm>
              <a:off x="10081740" y="2044865"/>
              <a:ext cx="1754660" cy="136577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sp>
        <p:nvSpPr>
          <p:cNvPr id="7" name="Text Placeholder 6">
            <a:extLst>
              <a:ext uri="{FF2B5EF4-FFF2-40B4-BE49-F238E27FC236}">
                <a16:creationId xmlns:a16="http://schemas.microsoft.com/office/drawing/2014/main" id="{F7B59288-D0A6-9EEC-6AE9-AB7F8AB9DE1F}"/>
              </a:ext>
            </a:extLst>
          </p:cNvPr>
          <p:cNvSpPr>
            <a:spLocks noGrp="1"/>
          </p:cNvSpPr>
          <p:nvPr>
            <p:ph type="body" sz="quarter" idx="11"/>
          </p:nvPr>
        </p:nvSpPr>
        <p:spPr>
          <a:xfrm>
            <a:off x="355600" y="1295400"/>
            <a:ext cx="7429500" cy="4381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1A444B3B-D0DF-0E8C-881B-AB2E80B8B3FC}"/>
              </a:ext>
            </a:extLst>
          </p:cNvPr>
          <p:cNvSpPr/>
          <p:nvPr userDrawn="1"/>
        </p:nvSpPr>
        <p:spPr>
          <a:xfrm>
            <a:off x="0" y="0"/>
            <a:ext cx="12192000" cy="893268"/>
          </a:xfrm>
          <a:prstGeom prst="rect">
            <a:avLst/>
          </a:prstGeom>
          <a:solidFill>
            <a:srgbClr val="0000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4">
            <a:extLst>
              <a:ext uri="{FF2B5EF4-FFF2-40B4-BE49-F238E27FC236}">
                <a16:creationId xmlns:a16="http://schemas.microsoft.com/office/drawing/2014/main" id="{41D6F58A-4473-8031-12D1-FA94899D8512}"/>
              </a:ext>
            </a:extLst>
          </p:cNvPr>
          <p:cNvSpPr>
            <a:spLocks noGrp="1"/>
          </p:cNvSpPr>
          <p:nvPr>
            <p:ph type="title"/>
          </p:nvPr>
        </p:nvSpPr>
        <p:spPr>
          <a:xfrm>
            <a:off x="139700" y="121196"/>
            <a:ext cx="10515600" cy="650875"/>
          </a:xfrm>
          <a:prstGeom prst="rect">
            <a:avLst/>
          </a:prstGeom>
        </p:spPr>
        <p:txBody>
          <a:bodyPr anchor="ctr"/>
          <a:lstStyle>
            <a:lvl1pPr>
              <a:defRPr sz="2800">
                <a:solidFill>
                  <a:schemeClr val="bg1"/>
                </a:solidFill>
              </a:defRPr>
            </a:lvl1pPr>
          </a:lstStyle>
          <a:p>
            <a:r>
              <a:rPr lang="en-US"/>
              <a:t>Click to edit Master title style</a:t>
            </a:r>
          </a:p>
        </p:txBody>
      </p:sp>
      <p:pic>
        <p:nvPicPr>
          <p:cNvPr id="16" name="Picture 15" descr="A picture containing emblem, symbol, logo, text&#10;&#10;Description automatically generated">
            <a:extLst>
              <a:ext uri="{FF2B5EF4-FFF2-40B4-BE49-F238E27FC236}">
                <a16:creationId xmlns:a16="http://schemas.microsoft.com/office/drawing/2014/main" id="{1168C1DC-7CB4-787D-35BB-42651F7A2A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353" t="27963" r="22440" b="27963"/>
          <a:stretch/>
        </p:blipFill>
        <p:spPr>
          <a:xfrm>
            <a:off x="11353800" y="45291"/>
            <a:ext cx="776932" cy="802687"/>
          </a:xfrm>
          <a:prstGeom prst="rect">
            <a:avLst/>
          </a:prstGeom>
        </p:spPr>
      </p:pic>
      <p:sp>
        <p:nvSpPr>
          <p:cNvPr id="19" name="Footer Placeholder 2">
            <a:extLst>
              <a:ext uri="{FF2B5EF4-FFF2-40B4-BE49-F238E27FC236}">
                <a16:creationId xmlns:a16="http://schemas.microsoft.com/office/drawing/2014/main" id="{A6775B62-8949-6212-7C95-ADFAB109FA7B}"/>
              </a:ext>
            </a:extLst>
          </p:cNvPr>
          <p:cNvSpPr>
            <a:spLocks noGrp="1"/>
          </p:cNvSpPr>
          <p:nvPr>
            <p:ph type="ftr" sz="quarter" idx="3"/>
          </p:nvPr>
        </p:nvSpPr>
        <p:spPr>
          <a:xfrm>
            <a:off x="4038600" y="6592389"/>
            <a:ext cx="4114800"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
        <p:nvSpPr>
          <p:cNvPr id="20" name="Slide Number Placeholder 3">
            <a:extLst>
              <a:ext uri="{FF2B5EF4-FFF2-40B4-BE49-F238E27FC236}">
                <a16:creationId xmlns:a16="http://schemas.microsoft.com/office/drawing/2014/main" id="{E9653E30-5891-F7AE-5732-38743E0CA454}"/>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TextBox 5">
            <a:extLst>
              <a:ext uri="{FF2B5EF4-FFF2-40B4-BE49-F238E27FC236}">
                <a16:creationId xmlns:a16="http://schemas.microsoft.com/office/drawing/2014/main" id="{82EEC552-BEFC-14BF-E30D-E0AD5AF60BE7}"/>
              </a:ext>
            </a:extLst>
          </p:cNvPr>
          <p:cNvSpPr txBox="1"/>
          <p:nvPr userDrawn="1"/>
        </p:nvSpPr>
        <p:spPr>
          <a:xfrm>
            <a:off x="4267200" y="6487437"/>
            <a:ext cx="3657600" cy="21544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Gill Sans MT" panose="020B0502020104020203" pitchFamily="34" charset="0"/>
                <a:ea typeface="+mn-ea"/>
                <a:cs typeface="+mn-cs"/>
              </a:rPr>
              <a:t>DRAFT FOR POLICY AND PROGRAM DEVELOPMENT</a:t>
            </a:r>
          </a:p>
        </p:txBody>
      </p:sp>
    </p:spTree>
    <p:extLst>
      <p:ext uri="{BB962C8B-B14F-4D97-AF65-F5344CB8AC3E}">
        <p14:creationId xmlns:p14="http://schemas.microsoft.com/office/powerpoint/2010/main" val="5779624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30"/>
        <p:cNvGrpSpPr/>
        <p:nvPr/>
      </p:nvGrpSpPr>
      <p:grpSpPr>
        <a:xfrm>
          <a:off x="0" y="0"/>
          <a:ext cx="0" cy="0"/>
          <a:chOff x="0" y="0"/>
          <a:chExt cx="0" cy="0"/>
        </a:xfrm>
      </p:grpSpPr>
      <p:sp>
        <p:nvSpPr>
          <p:cNvPr id="231" name="Google Shape;231;p41"/>
          <p:cNvSpPr txBox="1">
            <a:spLocks noGrp="1"/>
          </p:cNvSpPr>
          <p:nvPr>
            <p:ph type="title"/>
          </p:nvPr>
        </p:nvSpPr>
        <p:spPr>
          <a:xfrm>
            <a:off x="838200" y="579116"/>
            <a:ext cx="5002000" cy="6880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rgbClr val="3A71AB"/>
              </a:buClr>
              <a:buSzPts val="3300"/>
              <a:buFont typeface="Roboto"/>
              <a:buNone/>
              <a:defRPr b="1">
                <a:solidFill>
                  <a:srgbClr val="3A71AB"/>
                </a:solidFill>
                <a:latin typeface="Roboto"/>
                <a:ea typeface="Roboto"/>
                <a:cs typeface="Roboto"/>
                <a:sym typeface="Roboto"/>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32" name="Google Shape;232;p41"/>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609585" lvl="0" indent="-482588" algn="l" rtl="0">
              <a:lnSpc>
                <a:spcPct val="100000"/>
              </a:lnSpc>
              <a:spcBef>
                <a:spcPts val="1067"/>
              </a:spcBef>
              <a:spcAft>
                <a:spcPts val="0"/>
              </a:spcAft>
              <a:buClr>
                <a:srgbClr val="C12530"/>
              </a:buClr>
              <a:buSzPts val="2100"/>
              <a:buChar char="•"/>
              <a:defRPr>
                <a:solidFill>
                  <a:srgbClr val="C12530"/>
                </a:solidFill>
                <a:latin typeface="Roboto"/>
                <a:ea typeface="Roboto"/>
                <a:cs typeface="Roboto"/>
                <a:sym typeface="Roboto"/>
              </a:defRPr>
            </a:lvl1pPr>
            <a:lvl2pPr marL="1219170" lvl="1" indent="-457189" algn="l" rtl="0">
              <a:lnSpc>
                <a:spcPct val="100000"/>
              </a:lnSpc>
              <a:spcBef>
                <a:spcPts val="533"/>
              </a:spcBef>
              <a:spcAft>
                <a:spcPts val="0"/>
              </a:spcAft>
              <a:buClr>
                <a:schemeClr val="dk1"/>
              </a:buClr>
              <a:buSzPts val="1800"/>
              <a:buChar char="•"/>
              <a:defRPr/>
            </a:lvl2pPr>
            <a:lvl3pPr marL="1828754" lvl="2" indent="-431789" algn="l" rtl="0">
              <a:lnSpc>
                <a:spcPct val="100000"/>
              </a:lnSpc>
              <a:spcBef>
                <a:spcPts val="533"/>
              </a:spcBef>
              <a:spcAft>
                <a:spcPts val="0"/>
              </a:spcAft>
              <a:buClr>
                <a:schemeClr val="dk1"/>
              </a:buClr>
              <a:buSzPts val="1500"/>
              <a:buChar char="•"/>
              <a:defRPr/>
            </a:lvl3pPr>
            <a:lvl4pPr marL="2438339" lvl="3" indent="-423323" algn="l" rtl="0">
              <a:lnSpc>
                <a:spcPct val="100000"/>
              </a:lnSpc>
              <a:spcBef>
                <a:spcPts val="533"/>
              </a:spcBef>
              <a:spcAft>
                <a:spcPts val="0"/>
              </a:spcAft>
              <a:buClr>
                <a:schemeClr val="dk1"/>
              </a:buClr>
              <a:buSzPts val="1400"/>
              <a:buChar char="•"/>
              <a:defRPr/>
            </a:lvl4pPr>
            <a:lvl5pPr marL="3047924" lvl="4" indent="-423323" algn="l" rtl="0">
              <a:lnSpc>
                <a:spcPct val="10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233" name="Google Shape;233;p41"/>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solidFill>
                  <a:srgbClr val="C12530"/>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34" name="Google Shape;234;p41"/>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solidFill>
                  <a:srgbClr val="C12530"/>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r>
              <a:rPr lang="en-US"/>
              <a:t>This presentation is for informational purposes only. For legal advice, please contact an attorney</a:t>
            </a:r>
            <a:endParaRPr/>
          </a:p>
        </p:txBody>
      </p:sp>
      <p:sp>
        <p:nvSpPr>
          <p:cNvPr id="235" name="Google Shape;235;p4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9pPr>
          </a:lstStyle>
          <a:p>
            <a:fld id="{00000000-1234-1234-1234-123412341234}" type="slidenum">
              <a:rPr lang="en" smtClean="0"/>
              <a:pPr/>
              <a:t>‹#›</a:t>
            </a:fld>
            <a:endParaRPr lang="en"/>
          </a:p>
        </p:txBody>
      </p:sp>
      <p:pic>
        <p:nvPicPr>
          <p:cNvPr id="236" name="Google Shape;236;p41" descr="A close up of a logo&#10;&#10;Description automatically generated"/>
          <p:cNvPicPr preferRelativeResize="0"/>
          <p:nvPr/>
        </p:nvPicPr>
        <p:blipFill rotWithShape="1">
          <a:blip r:embed="rId2">
            <a:alphaModFix/>
          </a:blip>
          <a:srcRect/>
          <a:stretch/>
        </p:blipFill>
        <p:spPr>
          <a:xfrm>
            <a:off x="10274039" y="365126"/>
            <a:ext cx="1079764" cy="557901"/>
          </a:xfrm>
          <a:prstGeom prst="rect">
            <a:avLst/>
          </a:prstGeom>
          <a:noFill/>
          <a:ln>
            <a:noFill/>
          </a:ln>
        </p:spPr>
      </p:pic>
      <p:cxnSp>
        <p:nvCxnSpPr>
          <p:cNvPr id="237" name="Google Shape;237;p41"/>
          <p:cNvCxnSpPr/>
          <p:nvPr/>
        </p:nvCxnSpPr>
        <p:spPr>
          <a:xfrm>
            <a:off x="838200" y="1304853"/>
            <a:ext cx="2754800" cy="0"/>
          </a:xfrm>
          <a:prstGeom prst="straightConnector1">
            <a:avLst/>
          </a:prstGeom>
          <a:noFill/>
          <a:ln w="57150" cap="flat" cmpd="sng">
            <a:solidFill>
              <a:srgbClr val="3A71AB"/>
            </a:solidFill>
            <a:prstDash val="solid"/>
            <a:miter lim="800000"/>
            <a:headEnd type="none" w="sm" len="sm"/>
            <a:tailEnd type="none" w="sm" len="sm"/>
          </a:ln>
        </p:spPr>
      </p:cxnSp>
    </p:spTree>
    <p:extLst>
      <p:ext uri="{BB962C8B-B14F-4D97-AF65-F5344CB8AC3E}">
        <p14:creationId xmlns:p14="http://schemas.microsoft.com/office/powerpoint/2010/main" val="7339567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32021744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596"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13273" y="1000662"/>
            <a:ext cx="0" cy="4873925"/>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04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024406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668894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854385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693139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0674113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14518717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tandard Layou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25951172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97726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pic>
        <p:nvPicPr>
          <p:cNvPr id="4" name="Picture 3" descr="A picture containing emblem, symbol, logo, text&#10;&#10;Description automatically generated">
            <a:extLst>
              <a:ext uri="{FF2B5EF4-FFF2-40B4-BE49-F238E27FC236}">
                <a16:creationId xmlns:a16="http://schemas.microsoft.com/office/drawing/2014/main" id="{8A2AB3E5-01B7-08E2-A850-FB18E47EA4C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353800" y="45291"/>
            <a:ext cx="776932" cy="802687"/>
          </a:xfrm>
          <a:prstGeom prst="rect">
            <a:avLst/>
          </a:prstGeom>
        </p:spPr>
      </p:pic>
      <p:sp>
        <p:nvSpPr>
          <p:cNvPr id="8" name="Slide Number Placeholder 3">
            <a:extLst>
              <a:ext uri="{FF2B5EF4-FFF2-40B4-BE49-F238E27FC236}">
                <a16:creationId xmlns:a16="http://schemas.microsoft.com/office/drawing/2014/main" id="{119F20C8-5BDD-27AD-477B-4A95861CA2DB}"/>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pic>
        <p:nvPicPr>
          <p:cNvPr id="2" name="Picture 1" descr="A picture containing emblem, symbol, logo, text&#10;&#10;Description automatically generated">
            <a:extLst>
              <a:ext uri="{FF2B5EF4-FFF2-40B4-BE49-F238E27FC236}">
                <a16:creationId xmlns:a16="http://schemas.microsoft.com/office/drawing/2014/main" id="{BDDDEF06-EEC6-1CFC-54B1-58D2D7EAD402}"/>
              </a:ext>
            </a:extLst>
          </p:cNvPr>
          <p:cNvPicPr>
            <a:picLocks noChangeAspect="1"/>
          </p:cNvPicPr>
          <p:nvPr userDrawn="1"/>
        </p:nvPicPr>
        <p:blipFill rotWithShape="1">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11538037" y="144528"/>
            <a:ext cx="436428" cy="450895"/>
          </a:xfrm>
          <a:prstGeom prst="rect">
            <a:avLst/>
          </a:prstGeom>
        </p:spPr>
      </p:pic>
      <p:sp>
        <p:nvSpPr>
          <p:cNvPr id="3" name="Rectangle 2">
            <a:extLst>
              <a:ext uri="{FF2B5EF4-FFF2-40B4-BE49-F238E27FC236}">
                <a16:creationId xmlns:a16="http://schemas.microsoft.com/office/drawing/2014/main" id="{984C96FE-AE25-5CA2-4F26-0B7D91A23C59}"/>
              </a:ext>
            </a:extLst>
          </p:cNvPr>
          <p:cNvSpPr/>
          <p:nvPr userDrawn="1"/>
        </p:nvSpPr>
        <p:spPr>
          <a:xfrm>
            <a:off x="2477062" y="6645140"/>
            <a:ext cx="7234827" cy="215444"/>
          </a:xfrm>
          <a:prstGeom prst="rect">
            <a:avLst/>
          </a:prstGeom>
        </p:spPr>
        <p:txBody>
          <a:bodyPr wrap="square">
            <a:spAutoFit/>
          </a:bodyPr>
          <a:lstStyle/>
          <a:p>
            <a:pPr algn="ctr"/>
            <a:r>
              <a:rPr lang="en-US" sz="800">
                <a:solidFill>
                  <a:schemeClr val="bg1">
                    <a:lumMod val="50000"/>
                  </a:schemeClr>
                </a:solidFill>
                <a:effectLst/>
                <a:latin typeface="Gill Sans MT" panose="020B0502020104020203" pitchFamily="34" charset="0"/>
              </a:rPr>
              <a:t>CONFIDENTIAL AND PROPRIETARY. DRAFT FOR POLICY AND PROGRAM DEVELOPMENT</a:t>
            </a:r>
          </a:p>
        </p:txBody>
      </p:sp>
    </p:spTree>
    <p:extLst>
      <p:ext uri="{BB962C8B-B14F-4D97-AF65-F5344CB8AC3E}">
        <p14:creationId xmlns:p14="http://schemas.microsoft.com/office/powerpoint/2010/main" val="11330618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88C47-7514-9044-5FE9-57000765988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9EC0DBF-5CA1-A7DD-9A2C-EB60F33A5C9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CE1FE5F-9DD5-DF5C-059A-CDF554AE7BA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4560179-EDB5-82AA-B7F7-5C8E41ABE939}"/>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94A3E6C4-4380-3ABE-4A77-A394C2209499}"/>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329057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13506528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96717-B81C-71FC-153A-88BA1FFA14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E46EE6-8DC4-2390-F53E-A02F48CB35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683449-D6C0-AC83-861A-8D1466C68DD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3AC8EFC-5931-C47B-7089-20FCCF397986}"/>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D17E4A71-FD3A-71B8-4D8E-306A3CBB436F}"/>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386650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43056-D4BE-930B-9D82-CCE666F0995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D4DBD57-DA8A-19EB-D9B4-A407364E2B0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4E4029E-8F6B-EDF2-5A16-CB3D1619A5D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D9E3DE-6B02-5906-5250-A1C05036EEFC}"/>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5869DD18-9FA4-4ADA-7B9A-3590874C6B34}"/>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8059136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9E3E8-F241-D99F-5D64-EF1643D22E3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7C475CD-5F1B-5B9C-09CD-929FB65BEF5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50A32A-3B1B-058F-76CE-7A6F8F31E5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B85FE44-098D-06D2-75BD-B4AB6C63EB8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45EA2B5D-87C0-E935-C026-EA19F833D0E2}"/>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7" name="Slide Number Placeholder 6">
            <a:extLst>
              <a:ext uri="{FF2B5EF4-FFF2-40B4-BE49-F238E27FC236}">
                <a16:creationId xmlns:a16="http://schemas.microsoft.com/office/drawing/2014/main" id="{123E93DC-66F8-BBA6-DF8E-869ACFE27F08}"/>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2806568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63984-8E7B-074F-9F71-B625E13920E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2A99E9-7F63-4994-04BD-CCF6A6CE6CC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442A28-C2AA-B4C4-652E-7BE106FCC00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944131F-BA97-565F-6354-B7D8F47E82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02DBB4F-AEF3-AC4C-EC89-4984A43C3F7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AA6FF0F-9037-C199-7C1B-72FDB022B93A}"/>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EF75C71-ACF3-CEF6-5FAD-2FDF938F3FB8}"/>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9" name="Slide Number Placeholder 8">
            <a:extLst>
              <a:ext uri="{FF2B5EF4-FFF2-40B4-BE49-F238E27FC236}">
                <a16:creationId xmlns:a16="http://schemas.microsoft.com/office/drawing/2014/main" id="{DBB89108-9E4D-10BC-0DBF-76B8F7309CE6}"/>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2411850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F41A1-B4B7-E0D2-1B80-2E897B808C3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EA86FCD-0B92-3D05-173A-1839005F32B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541208F5-CC5F-8E43-ECA0-89A1D7B4B931}"/>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5" name="Slide Number Placeholder 4">
            <a:extLst>
              <a:ext uri="{FF2B5EF4-FFF2-40B4-BE49-F238E27FC236}">
                <a16:creationId xmlns:a16="http://schemas.microsoft.com/office/drawing/2014/main" id="{3FDB6E67-DB20-172A-F06C-E594DFD4731A}"/>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39724504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36F2F1-72DF-E2EA-D3FC-A46EF511D14B}"/>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4611672F-FB2F-EFAD-A67C-726FB5148D89}"/>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4" name="Slide Number Placeholder 3">
            <a:extLst>
              <a:ext uri="{FF2B5EF4-FFF2-40B4-BE49-F238E27FC236}">
                <a16:creationId xmlns:a16="http://schemas.microsoft.com/office/drawing/2014/main" id="{CAD573B7-5577-8EF2-2344-67379D425E2C}"/>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25452806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26D32-06AD-C219-95A3-FADD128C6B1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62EEE42-BFE6-ECE5-9FA7-ED3C70F2E0B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6A166C2-C569-B89F-BECA-E5BB61796A8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19C753-0A6C-9F65-F8A2-A600689B7DF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0E2E1FD-5B2A-1760-D498-9FB7777B6B15}"/>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7" name="Slide Number Placeholder 6">
            <a:extLst>
              <a:ext uri="{FF2B5EF4-FFF2-40B4-BE49-F238E27FC236}">
                <a16:creationId xmlns:a16="http://schemas.microsoft.com/office/drawing/2014/main" id="{C46BC9B4-A3EA-1C70-0753-CECA457AF4FA}"/>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17313336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D89A5-649B-600F-835F-E4F1BDC8A7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46A1E94-4D6E-6AA1-DD66-18CB04E58E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5743F9C-DEB0-74D0-C63C-CFBB3686BA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49BF5F-75D5-55BB-1AEE-A498FFB0EECC}"/>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CDED5C3-032D-1B07-1337-A78AFB253952}"/>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7" name="Slide Number Placeholder 6">
            <a:extLst>
              <a:ext uri="{FF2B5EF4-FFF2-40B4-BE49-F238E27FC236}">
                <a16:creationId xmlns:a16="http://schemas.microsoft.com/office/drawing/2014/main" id="{3FF049AA-2536-0F9E-4E0F-60A5FE32065F}"/>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41363108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18BAF-79DA-00C7-0D86-86184F5F437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F250612-0844-9F0B-B1BA-CF6369165F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44A627-FB05-313A-EB3F-B5D8B6E7E04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48C43E8-C539-FCC4-9E53-3BE6FF360C29}"/>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01E8A8A5-87B7-A598-7014-0203B618360D}"/>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922358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833CED0-FE49-70B6-5828-C9A16A44A8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2BA2233-3E9E-CA06-1FFB-AF9642B5B18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199AC4-B457-E751-4E8A-2CC14600736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4A9E180-EA8A-02D0-1775-E925DDBEF165}"/>
              </a:ext>
            </a:extLst>
          </p:cNvPr>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30C43A0D-7E3A-BCFF-D4CF-E4E532051EA4}"/>
              </a:ext>
            </a:extLst>
          </p:cNvPr>
          <p:cNvSpPr>
            <a:spLocks noGrp="1"/>
          </p:cNvSpPr>
          <p:nvPr>
            <p:ph type="sldNum" sz="quarter" idx="12"/>
          </p:nvPr>
        </p:nvSpPr>
        <p:spPr/>
        <p:txBody>
          <a:bodyPr/>
          <a:lstStyle/>
          <a:p>
            <a:fld id="{75317EB1-737C-4A00-87E5-E580D80575C7}" type="slidenum">
              <a:rPr lang="en-US" smtClean="0"/>
              <a:t>‹#›</a:t>
            </a:fld>
            <a:endParaRPr lang="en-US"/>
          </a:p>
        </p:txBody>
      </p:sp>
    </p:spTree>
    <p:extLst>
      <p:ext uri="{BB962C8B-B14F-4D97-AF65-F5344CB8AC3E}">
        <p14:creationId xmlns:p14="http://schemas.microsoft.com/office/powerpoint/2010/main" val="26694945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260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043"/>
            </a:lvl1pPr>
            <a:lvl2pPr marL="198721" indent="0" algn="ctr">
              <a:buNone/>
              <a:defRPr sz="869"/>
            </a:lvl2pPr>
            <a:lvl3pPr marL="397442" indent="0" algn="ctr">
              <a:buNone/>
              <a:defRPr sz="783"/>
            </a:lvl3pPr>
            <a:lvl4pPr marL="596163" indent="0" algn="ctr">
              <a:buNone/>
              <a:defRPr sz="695"/>
            </a:lvl4pPr>
            <a:lvl5pPr marL="794883" indent="0" algn="ctr">
              <a:buNone/>
              <a:defRPr sz="695"/>
            </a:lvl5pPr>
            <a:lvl6pPr marL="993604" indent="0" algn="ctr">
              <a:buNone/>
              <a:defRPr sz="695"/>
            </a:lvl6pPr>
            <a:lvl7pPr marL="1192325" indent="0" algn="ctr">
              <a:buNone/>
              <a:defRPr sz="695"/>
            </a:lvl7pPr>
            <a:lvl8pPr marL="1391046" indent="0" algn="ctr">
              <a:buNone/>
              <a:defRPr sz="695"/>
            </a:lvl8pPr>
            <a:lvl9pPr marL="1589767" indent="0" algn="ctr">
              <a:buNone/>
              <a:defRPr sz="695"/>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9251244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 Housing &amp; </a:t>
            </a:r>
          </a:p>
          <a:p>
            <a:pPr algn="l">
              <a:spcBef>
                <a:spcPts val="0"/>
              </a:spcBef>
              <a:spcAft>
                <a:spcPts val="0"/>
              </a:spcAft>
              <a:buNone/>
            </a:pPr>
            <a:r>
              <a:rPr lang="en-US" sz="1600" b="1">
                <a:solidFill>
                  <a:schemeClr val="accent1"/>
                </a:solidFill>
              </a:rPr>
              <a:t>Livable Communities</a:t>
            </a:r>
          </a:p>
        </p:txBody>
      </p:sp>
    </p:spTree>
    <p:extLst>
      <p:ext uri="{BB962C8B-B14F-4D97-AF65-F5344CB8AC3E}">
        <p14:creationId xmlns:p14="http://schemas.microsoft.com/office/powerpoint/2010/main" val="12597844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15192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899089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3715994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956556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2329320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50508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FOR INTERNAL USE ONLY</a:t>
            </a:r>
          </a:p>
        </p:txBody>
      </p:sp>
    </p:spTree>
    <p:extLst>
      <p:ext uri="{BB962C8B-B14F-4D97-AF65-F5344CB8AC3E}">
        <p14:creationId xmlns:p14="http://schemas.microsoft.com/office/powerpoint/2010/main" val="9553212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47675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7173B96-0681-F93A-ADC0-41116E3AA202}"/>
              </a:ext>
            </a:extLst>
          </p:cNvPr>
          <p:cNvPicPr>
            <a:picLocks/>
          </p:cNvPicPr>
          <p:nvPr userDrawn="1"/>
        </p:nvPicPr>
        <p:blipFill rotWithShape="1">
          <a:blip r:embed="rId2" cstate="print">
            <a:extLst>
              <a:ext uri="{28A0092B-C50C-407E-A947-70E740481C1C}">
                <a14:useLocalDpi xmlns:a14="http://schemas.microsoft.com/office/drawing/2010/main"/>
              </a:ext>
            </a:extLst>
          </a:blip>
          <a:srcRect l="9407" r="17099" b="26506"/>
          <a:stretch/>
        </p:blipFill>
        <p:spPr>
          <a:xfrm>
            <a:off x="0" y="1"/>
            <a:ext cx="12192000" cy="6858000"/>
          </a:xfrm>
          <a:prstGeom prst="rect">
            <a:avLst/>
          </a:prstGeom>
        </p:spPr>
      </p:pic>
      <p:sp>
        <p:nvSpPr>
          <p:cNvPr id="3" name="Rectangle 2">
            <a:extLst>
              <a:ext uri="{FF2B5EF4-FFF2-40B4-BE49-F238E27FC236}">
                <a16:creationId xmlns:a16="http://schemas.microsoft.com/office/drawing/2014/main" id="{44976944-4DD9-3FEF-D6F5-4570697977B6}"/>
              </a:ext>
            </a:extLst>
          </p:cNvPr>
          <p:cNvSpPr/>
          <p:nvPr userDrawn="1"/>
        </p:nvSpPr>
        <p:spPr>
          <a:xfrm>
            <a:off x="189719" y="188909"/>
            <a:ext cx="11798896" cy="6480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355" bIns="91355" rtlCol="0" anchor="ctr"/>
          <a:lstStyle/>
          <a:p>
            <a:pPr marL="342900" marR="0" lvl="0" indent="-342900">
              <a:spcBef>
                <a:spcPts val="0"/>
              </a:spcBef>
              <a:spcAft>
                <a:spcPts val="0"/>
              </a:spcAft>
              <a:buFont typeface="Symbol" panose="05050102010706020507" pitchFamily="18" charset="2"/>
              <a:buChar char=""/>
            </a:pPr>
            <a:r>
              <a:rPr lang="en-US" sz="2400">
                <a:effectLst/>
                <a:latin typeface="Calibri" panose="020F0502020204030204" pitchFamily="34" charset="0"/>
                <a:ea typeface="Calibri" panose="020F0502020204030204" pitchFamily="34" charset="0"/>
              </a:rPr>
              <a:t>Define a fit-for-purpose set of Planisware capabilities in timeline management, resource management, and portfolio management </a:t>
            </a:r>
            <a:endParaRPr lang="en-US" sz="2400">
              <a:effectLst/>
              <a:latin typeface="Arial" panose="020B0604020202020204" pitchFamily="34" charset="0"/>
              <a:ea typeface="Calibri" panose="020F0502020204030204" pitchFamily="34" charset="0"/>
            </a:endParaRPr>
          </a:p>
        </p:txBody>
      </p:sp>
      <p:sp>
        <p:nvSpPr>
          <p:cNvPr id="11" name="Title 10"/>
          <p:cNvSpPr>
            <a:spLocks noGrp="1"/>
          </p:cNvSpPr>
          <p:nvPr>
            <p:ph type="title" hasCustomPrompt="1"/>
          </p:nvPr>
        </p:nvSpPr>
        <p:spPr>
          <a:xfrm>
            <a:off x="381000" y="320040"/>
            <a:ext cx="11430000" cy="698500"/>
          </a:xfrm>
        </p:spPr>
        <p:txBody>
          <a:bodyPr>
            <a:noAutofit/>
          </a:bodyPr>
          <a:lstStyle>
            <a:lvl1pPr>
              <a:lnSpc>
                <a:spcPct val="85000"/>
              </a:lnSpc>
              <a:defRPr>
                <a:latin typeface="Graphik Light" panose="020B0403030202060203" pitchFamily="34" charset="0"/>
              </a:defRPr>
            </a:lvl1pPr>
          </a:lstStyle>
          <a:p>
            <a:r>
              <a:rPr lang="en-US"/>
              <a:t>Click to edit title text</a:t>
            </a:r>
          </a:p>
        </p:txBody>
      </p:sp>
      <p:sp>
        <p:nvSpPr>
          <p:cNvPr id="5" name="Content Placeholder 4">
            <a:extLst>
              <a:ext uri="{FF2B5EF4-FFF2-40B4-BE49-F238E27FC236}">
                <a16:creationId xmlns:a16="http://schemas.microsoft.com/office/drawing/2014/main" id="{03A35941-3E3E-42D7-A07E-2C5E0416CD4C}"/>
              </a:ext>
            </a:extLst>
          </p:cNvPr>
          <p:cNvSpPr>
            <a:spLocks noGrp="1"/>
          </p:cNvSpPr>
          <p:nvPr>
            <p:ph sz="quarter" idx="21"/>
          </p:nvPr>
        </p:nvSpPr>
        <p:spPr>
          <a:xfrm>
            <a:off x="381000" y="990600"/>
            <a:ext cx="11430000" cy="5410200"/>
          </a:xfrm>
        </p:spPr>
        <p:txBody>
          <a:bodyPr/>
          <a:lstStyle>
            <a:lvl1pPr>
              <a:lnSpc>
                <a:spcPct val="110000"/>
              </a:lnSpc>
              <a:spcBef>
                <a:spcPts val="0"/>
              </a:spcBef>
              <a:spcAft>
                <a:spcPts val="1199"/>
              </a:spcAft>
              <a:defRPr sz="1399">
                <a:solidFill>
                  <a:schemeClr val="tx1"/>
                </a:solidFill>
                <a:latin typeface="Graphik Light" panose="020B0403030202060203" pitchFamily="34" charset="0"/>
              </a:defRPr>
            </a:lvl1pPr>
            <a:lvl2pPr marL="182715" indent="-182715">
              <a:lnSpc>
                <a:spcPct val="110000"/>
              </a:lnSpc>
              <a:spcBef>
                <a:spcPts val="0"/>
              </a:spcBef>
              <a:spcAft>
                <a:spcPts val="1199"/>
              </a:spcAft>
              <a:defRPr sz="1399">
                <a:solidFill>
                  <a:schemeClr val="tx1"/>
                </a:solidFill>
                <a:latin typeface="Graphik Light" panose="020B0403030202060203" pitchFamily="34" charset="0"/>
              </a:defRPr>
            </a:lvl2pPr>
            <a:lvl3pPr>
              <a:lnSpc>
                <a:spcPct val="110000"/>
              </a:lnSpc>
              <a:spcBef>
                <a:spcPts val="0"/>
              </a:spcBef>
              <a:spcAft>
                <a:spcPts val="1199"/>
              </a:spcAft>
              <a:defRPr sz="1399">
                <a:solidFill>
                  <a:schemeClr val="tx1"/>
                </a:solidFill>
                <a:latin typeface="Graphik Light" panose="020B0403030202060203" pitchFamily="34" charset="0"/>
              </a:defRPr>
            </a:lvl3pPr>
            <a:lvl4pPr>
              <a:lnSpc>
                <a:spcPct val="110000"/>
              </a:lnSpc>
              <a:spcBef>
                <a:spcPts val="0"/>
              </a:spcBef>
              <a:spcAft>
                <a:spcPts val="1199"/>
              </a:spcAft>
              <a:defRPr sz="1399">
                <a:solidFill>
                  <a:schemeClr val="tx1"/>
                </a:solidFill>
                <a:latin typeface="Graphik Light" panose="020B040303020206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408326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8.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32" Type="http://schemas.openxmlformats.org/officeDocument/2006/relationships/tags" Target="../tags/tag19.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tags" Target="../tags/tag67.xml"/><Relationship Id="rId39" Type="http://schemas.openxmlformats.org/officeDocument/2006/relationships/tags" Target="../tags/tag80.xml"/><Relationship Id="rId21" Type="http://schemas.openxmlformats.org/officeDocument/2006/relationships/tags" Target="../tags/tag62.xml"/><Relationship Id="rId34" Type="http://schemas.openxmlformats.org/officeDocument/2006/relationships/tags" Target="../tags/tag75.xml"/><Relationship Id="rId42" Type="http://schemas.openxmlformats.org/officeDocument/2006/relationships/image" Target="../media/image1.emf"/><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theme" Target="../theme/theme2.xml"/><Relationship Id="rId29" Type="http://schemas.openxmlformats.org/officeDocument/2006/relationships/tags" Target="../tags/tag70.xml"/><Relationship Id="rId41" Type="http://schemas.openxmlformats.org/officeDocument/2006/relationships/oleObject" Target="../embeddings/oleObject1.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ags" Target="../tags/tag65.xml"/><Relationship Id="rId32" Type="http://schemas.openxmlformats.org/officeDocument/2006/relationships/tags" Target="../tags/tag73.xml"/><Relationship Id="rId37" Type="http://schemas.openxmlformats.org/officeDocument/2006/relationships/tags" Target="../tags/tag78.xml"/><Relationship Id="rId40" Type="http://schemas.openxmlformats.org/officeDocument/2006/relationships/tags" Target="../tags/tag81.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tags" Target="../tags/tag7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 Id="rId43" Type="http://schemas.openxmlformats.org/officeDocument/2006/relationships/image" Target="../media/image5.png"/><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ags" Target="../tags/tag201.xml"/><Relationship Id="rId18" Type="http://schemas.openxmlformats.org/officeDocument/2006/relationships/tags" Target="../tags/tag206.xml"/><Relationship Id="rId26" Type="http://schemas.openxmlformats.org/officeDocument/2006/relationships/tags" Target="../tags/tag214.xml"/><Relationship Id="rId3" Type="http://schemas.openxmlformats.org/officeDocument/2006/relationships/slideLayout" Target="../slideLayouts/slideLayout35.xml"/><Relationship Id="rId21" Type="http://schemas.openxmlformats.org/officeDocument/2006/relationships/tags" Target="../tags/tag209.xml"/><Relationship Id="rId7" Type="http://schemas.openxmlformats.org/officeDocument/2006/relationships/slideLayout" Target="../slideLayouts/slideLayout39.xml"/><Relationship Id="rId12" Type="http://schemas.openxmlformats.org/officeDocument/2006/relationships/tags" Target="../tags/tag200.xml"/><Relationship Id="rId17" Type="http://schemas.openxmlformats.org/officeDocument/2006/relationships/tags" Target="../tags/tag205.xml"/><Relationship Id="rId25" Type="http://schemas.openxmlformats.org/officeDocument/2006/relationships/tags" Target="../tags/tag213.xml"/><Relationship Id="rId2" Type="http://schemas.openxmlformats.org/officeDocument/2006/relationships/slideLayout" Target="../slideLayouts/slideLayout34.xml"/><Relationship Id="rId16" Type="http://schemas.openxmlformats.org/officeDocument/2006/relationships/tags" Target="../tags/tag204.xml"/><Relationship Id="rId20" Type="http://schemas.openxmlformats.org/officeDocument/2006/relationships/tags" Target="../tags/tag208.xml"/><Relationship Id="rId29" Type="http://schemas.openxmlformats.org/officeDocument/2006/relationships/tags" Target="../tags/tag217.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199.xml"/><Relationship Id="rId24" Type="http://schemas.openxmlformats.org/officeDocument/2006/relationships/tags" Target="../tags/tag212.xml"/><Relationship Id="rId32" Type="http://schemas.openxmlformats.org/officeDocument/2006/relationships/image" Target="../media/image2.png"/><Relationship Id="rId5" Type="http://schemas.openxmlformats.org/officeDocument/2006/relationships/slideLayout" Target="../slideLayouts/slideLayout37.xml"/><Relationship Id="rId15" Type="http://schemas.openxmlformats.org/officeDocument/2006/relationships/tags" Target="../tags/tag203.xml"/><Relationship Id="rId23" Type="http://schemas.openxmlformats.org/officeDocument/2006/relationships/tags" Target="../tags/tag211.xml"/><Relationship Id="rId28" Type="http://schemas.openxmlformats.org/officeDocument/2006/relationships/tags" Target="../tags/tag216.xml"/><Relationship Id="rId10" Type="http://schemas.openxmlformats.org/officeDocument/2006/relationships/theme" Target="../theme/theme3.xml"/><Relationship Id="rId19" Type="http://schemas.openxmlformats.org/officeDocument/2006/relationships/tags" Target="../tags/tag207.xml"/><Relationship Id="rId31" Type="http://schemas.openxmlformats.org/officeDocument/2006/relationships/image" Target="../media/image1.emf"/><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202.xml"/><Relationship Id="rId22" Type="http://schemas.openxmlformats.org/officeDocument/2006/relationships/tags" Target="../tags/tag210.xml"/><Relationship Id="rId27" Type="http://schemas.openxmlformats.org/officeDocument/2006/relationships/tags" Target="../tags/tag215.xml"/><Relationship Id="rId30"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254.xml"/><Relationship Id="rId18" Type="http://schemas.openxmlformats.org/officeDocument/2006/relationships/tags" Target="../tags/tag259.xml"/><Relationship Id="rId26" Type="http://schemas.openxmlformats.org/officeDocument/2006/relationships/tags" Target="../tags/tag267.xml"/><Relationship Id="rId3" Type="http://schemas.openxmlformats.org/officeDocument/2006/relationships/slideLayout" Target="../slideLayouts/slideLayout44.xml"/><Relationship Id="rId21" Type="http://schemas.openxmlformats.org/officeDocument/2006/relationships/tags" Target="../tags/tag262.xml"/><Relationship Id="rId7" Type="http://schemas.openxmlformats.org/officeDocument/2006/relationships/slideLayout" Target="../slideLayouts/slideLayout48.xml"/><Relationship Id="rId12" Type="http://schemas.openxmlformats.org/officeDocument/2006/relationships/tags" Target="../tags/tag253.xml"/><Relationship Id="rId17" Type="http://schemas.openxmlformats.org/officeDocument/2006/relationships/tags" Target="../tags/tag258.xml"/><Relationship Id="rId25" Type="http://schemas.openxmlformats.org/officeDocument/2006/relationships/tags" Target="../tags/tag266.xml"/><Relationship Id="rId33" Type="http://schemas.openxmlformats.org/officeDocument/2006/relationships/image" Target="../media/image14.png"/><Relationship Id="rId2" Type="http://schemas.openxmlformats.org/officeDocument/2006/relationships/slideLayout" Target="../slideLayouts/slideLayout43.xml"/><Relationship Id="rId16" Type="http://schemas.openxmlformats.org/officeDocument/2006/relationships/tags" Target="../tags/tag257.xml"/><Relationship Id="rId20" Type="http://schemas.openxmlformats.org/officeDocument/2006/relationships/tags" Target="../tags/tag261.xml"/><Relationship Id="rId29" Type="http://schemas.openxmlformats.org/officeDocument/2006/relationships/tags" Target="../tags/tag2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4.xml"/><Relationship Id="rId24" Type="http://schemas.openxmlformats.org/officeDocument/2006/relationships/tags" Target="../tags/tag265.xml"/><Relationship Id="rId32" Type="http://schemas.openxmlformats.org/officeDocument/2006/relationships/image" Target="../media/image1.emf"/><Relationship Id="rId5" Type="http://schemas.openxmlformats.org/officeDocument/2006/relationships/slideLayout" Target="../slideLayouts/slideLayout46.xml"/><Relationship Id="rId15" Type="http://schemas.openxmlformats.org/officeDocument/2006/relationships/tags" Target="../tags/tag256.xml"/><Relationship Id="rId23" Type="http://schemas.openxmlformats.org/officeDocument/2006/relationships/tags" Target="../tags/tag264.xml"/><Relationship Id="rId28" Type="http://schemas.openxmlformats.org/officeDocument/2006/relationships/tags" Target="../tags/tag269.xml"/><Relationship Id="rId10" Type="http://schemas.openxmlformats.org/officeDocument/2006/relationships/slideLayout" Target="../slideLayouts/slideLayout51.xml"/><Relationship Id="rId19" Type="http://schemas.openxmlformats.org/officeDocument/2006/relationships/tags" Target="../tags/tag260.xml"/><Relationship Id="rId31" Type="http://schemas.openxmlformats.org/officeDocument/2006/relationships/oleObject" Target="../embeddings/oleObject1.bin"/><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ags" Target="../tags/tag255.xml"/><Relationship Id="rId22" Type="http://schemas.openxmlformats.org/officeDocument/2006/relationships/tags" Target="../tags/tag263.xml"/><Relationship Id="rId27" Type="http://schemas.openxmlformats.org/officeDocument/2006/relationships/tags" Target="../tags/tag268.xml"/><Relationship Id="rId30" Type="http://schemas.openxmlformats.org/officeDocument/2006/relationships/tags" Target="../tags/tag271.xml"/><Relationship Id="rId8"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tags" Target="../tags/tag301.xml"/><Relationship Id="rId26" Type="http://schemas.openxmlformats.org/officeDocument/2006/relationships/tags" Target="../tags/tag309.xml"/><Relationship Id="rId39" Type="http://schemas.openxmlformats.org/officeDocument/2006/relationships/image" Target="../media/image2.png"/><Relationship Id="rId21" Type="http://schemas.openxmlformats.org/officeDocument/2006/relationships/tags" Target="../tags/tag304.xml"/><Relationship Id="rId34" Type="http://schemas.openxmlformats.org/officeDocument/2006/relationships/tags" Target="../tags/tag317.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theme" Target="../theme/theme5.xml"/><Relationship Id="rId25" Type="http://schemas.openxmlformats.org/officeDocument/2006/relationships/tags" Target="../tags/tag308.xml"/><Relationship Id="rId33" Type="http://schemas.openxmlformats.org/officeDocument/2006/relationships/tags" Target="../tags/tag316.xml"/><Relationship Id="rId38" Type="http://schemas.openxmlformats.org/officeDocument/2006/relationships/image" Target="../media/image1.emf"/><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ags" Target="../tags/tag303.xml"/><Relationship Id="rId29" Type="http://schemas.openxmlformats.org/officeDocument/2006/relationships/tags" Target="../tags/tag312.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ags" Target="../tags/tag307.xml"/><Relationship Id="rId32" Type="http://schemas.openxmlformats.org/officeDocument/2006/relationships/tags" Target="../tags/tag315.xml"/><Relationship Id="rId37" Type="http://schemas.openxmlformats.org/officeDocument/2006/relationships/oleObject" Target="../embeddings/oleObject1.bin"/><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ags" Target="../tags/tag306.xml"/><Relationship Id="rId28" Type="http://schemas.openxmlformats.org/officeDocument/2006/relationships/tags" Target="../tags/tag311.xml"/><Relationship Id="rId36" Type="http://schemas.openxmlformats.org/officeDocument/2006/relationships/tags" Target="../tags/tag319.xml"/><Relationship Id="rId10" Type="http://schemas.openxmlformats.org/officeDocument/2006/relationships/slideLayout" Target="../slideLayouts/slideLayout61.xml"/><Relationship Id="rId19" Type="http://schemas.openxmlformats.org/officeDocument/2006/relationships/tags" Target="../tags/tag302.xml"/><Relationship Id="rId31" Type="http://schemas.openxmlformats.org/officeDocument/2006/relationships/tags" Target="../tags/tag314.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tags" Target="../tags/tag305.xml"/><Relationship Id="rId27" Type="http://schemas.openxmlformats.org/officeDocument/2006/relationships/tags" Target="../tags/tag310.xml"/><Relationship Id="rId30" Type="http://schemas.openxmlformats.org/officeDocument/2006/relationships/tags" Target="../tags/tag313.xml"/><Relationship Id="rId35" Type="http://schemas.openxmlformats.org/officeDocument/2006/relationships/tags" Target="../tags/tag318.xml"/><Relationship Id="rId8" Type="http://schemas.openxmlformats.org/officeDocument/2006/relationships/slideLayout" Target="../slideLayouts/slideLayout59.xml"/><Relationship Id="rId3"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355.xml"/><Relationship Id="rId18" Type="http://schemas.openxmlformats.org/officeDocument/2006/relationships/tags" Target="../tags/tag360.xml"/><Relationship Id="rId26" Type="http://schemas.openxmlformats.org/officeDocument/2006/relationships/tags" Target="../tags/tag368.xml"/><Relationship Id="rId3" Type="http://schemas.openxmlformats.org/officeDocument/2006/relationships/slideLayout" Target="../slideLayouts/slideLayout70.xml"/><Relationship Id="rId21" Type="http://schemas.openxmlformats.org/officeDocument/2006/relationships/tags" Target="../tags/tag363.xml"/><Relationship Id="rId34" Type="http://schemas.openxmlformats.org/officeDocument/2006/relationships/image" Target="../media/image14.png"/><Relationship Id="rId7" Type="http://schemas.openxmlformats.org/officeDocument/2006/relationships/slideLayout" Target="../slideLayouts/slideLayout74.xml"/><Relationship Id="rId12" Type="http://schemas.openxmlformats.org/officeDocument/2006/relationships/theme" Target="../theme/theme6.xml"/><Relationship Id="rId17" Type="http://schemas.openxmlformats.org/officeDocument/2006/relationships/tags" Target="../tags/tag359.xml"/><Relationship Id="rId25" Type="http://schemas.openxmlformats.org/officeDocument/2006/relationships/tags" Target="../tags/tag367.xml"/><Relationship Id="rId33"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tags" Target="../tags/tag358.xml"/><Relationship Id="rId20" Type="http://schemas.openxmlformats.org/officeDocument/2006/relationships/tags" Target="../tags/tag362.xml"/><Relationship Id="rId29" Type="http://schemas.openxmlformats.org/officeDocument/2006/relationships/tags" Target="../tags/tag371.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tags" Target="../tags/tag366.xml"/><Relationship Id="rId32" Type="http://schemas.openxmlformats.org/officeDocument/2006/relationships/oleObject" Target="../embeddings/oleObject1.bin"/><Relationship Id="rId5" Type="http://schemas.openxmlformats.org/officeDocument/2006/relationships/slideLayout" Target="../slideLayouts/slideLayout72.xml"/><Relationship Id="rId15" Type="http://schemas.openxmlformats.org/officeDocument/2006/relationships/tags" Target="../tags/tag357.xml"/><Relationship Id="rId23" Type="http://schemas.openxmlformats.org/officeDocument/2006/relationships/tags" Target="../tags/tag365.xml"/><Relationship Id="rId28" Type="http://schemas.openxmlformats.org/officeDocument/2006/relationships/tags" Target="../tags/tag370.xml"/><Relationship Id="rId10" Type="http://schemas.openxmlformats.org/officeDocument/2006/relationships/slideLayout" Target="../slideLayouts/slideLayout77.xml"/><Relationship Id="rId19" Type="http://schemas.openxmlformats.org/officeDocument/2006/relationships/tags" Target="../tags/tag361.xml"/><Relationship Id="rId31" Type="http://schemas.openxmlformats.org/officeDocument/2006/relationships/tags" Target="../tags/tag373.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356.xml"/><Relationship Id="rId22" Type="http://schemas.openxmlformats.org/officeDocument/2006/relationships/tags" Target="../tags/tag364.xml"/><Relationship Id="rId27" Type="http://schemas.openxmlformats.org/officeDocument/2006/relationships/tags" Target="../tags/tag369.xml"/><Relationship Id="rId30" Type="http://schemas.openxmlformats.org/officeDocument/2006/relationships/tags" Target="../tags/tag372.xml"/><Relationship Id="rId8" Type="http://schemas.openxmlformats.org/officeDocument/2006/relationships/slideLayout" Target="../slideLayouts/slideLayout7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7.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8.xml.rels><?xml version="1.0" encoding="UTF-8" standalone="yes"?>
<Relationships xmlns="http://schemas.openxmlformats.org/package/2006/relationships"><Relationship Id="rId13" Type="http://schemas.openxmlformats.org/officeDocument/2006/relationships/tags" Target="../tags/tag404.xml"/><Relationship Id="rId18" Type="http://schemas.openxmlformats.org/officeDocument/2006/relationships/tags" Target="../tags/tag409.xml"/><Relationship Id="rId26" Type="http://schemas.openxmlformats.org/officeDocument/2006/relationships/tags" Target="../tags/tag417.xml"/><Relationship Id="rId3" Type="http://schemas.openxmlformats.org/officeDocument/2006/relationships/slideLayout" Target="../slideLayouts/slideLayout92.xml"/><Relationship Id="rId21" Type="http://schemas.openxmlformats.org/officeDocument/2006/relationships/tags" Target="../tags/tag412.xml"/><Relationship Id="rId7" Type="http://schemas.openxmlformats.org/officeDocument/2006/relationships/slideLayout" Target="../slideLayouts/slideLayout96.xml"/><Relationship Id="rId12" Type="http://schemas.openxmlformats.org/officeDocument/2006/relationships/tags" Target="../tags/tag403.xml"/><Relationship Id="rId17" Type="http://schemas.openxmlformats.org/officeDocument/2006/relationships/tags" Target="../tags/tag408.xml"/><Relationship Id="rId25" Type="http://schemas.openxmlformats.org/officeDocument/2006/relationships/tags" Target="../tags/tag416.xml"/><Relationship Id="rId33"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tags" Target="../tags/tag407.xml"/><Relationship Id="rId20" Type="http://schemas.openxmlformats.org/officeDocument/2006/relationships/tags" Target="../tags/tag411.xml"/><Relationship Id="rId29" Type="http://schemas.openxmlformats.org/officeDocument/2006/relationships/tags" Target="../tags/tag420.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theme" Target="../theme/theme8.xml"/><Relationship Id="rId24" Type="http://schemas.openxmlformats.org/officeDocument/2006/relationships/tags" Target="../tags/tag415.xml"/><Relationship Id="rId32" Type="http://schemas.openxmlformats.org/officeDocument/2006/relationships/image" Target="../media/image1.emf"/><Relationship Id="rId5" Type="http://schemas.openxmlformats.org/officeDocument/2006/relationships/slideLayout" Target="../slideLayouts/slideLayout94.xml"/><Relationship Id="rId15" Type="http://schemas.openxmlformats.org/officeDocument/2006/relationships/tags" Target="../tags/tag406.xml"/><Relationship Id="rId23" Type="http://schemas.openxmlformats.org/officeDocument/2006/relationships/tags" Target="../tags/tag414.xml"/><Relationship Id="rId28" Type="http://schemas.openxmlformats.org/officeDocument/2006/relationships/tags" Target="../tags/tag419.xml"/><Relationship Id="rId10" Type="http://schemas.openxmlformats.org/officeDocument/2006/relationships/slideLayout" Target="../slideLayouts/slideLayout99.xml"/><Relationship Id="rId19" Type="http://schemas.openxmlformats.org/officeDocument/2006/relationships/tags" Target="../tags/tag410.xml"/><Relationship Id="rId31" Type="http://schemas.openxmlformats.org/officeDocument/2006/relationships/oleObject" Target="../embeddings/oleObject1.bin"/><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405.xml"/><Relationship Id="rId22" Type="http://schemas.openxmlformats.org/officeDocument/2006/relationships/tags" Target="../tags/tag413.xml"/><Relationship Id="rId27" Type="http://schemas.openxmlformats.org/officeDocument/2006/relationships/tags" Target="../tags/tag418.xml"/><Relationship Id="rId30" Type="http://schemas.openxmlformats.org/officeDocument/2006/relationships/tags" Target="../tags/tag421.xml"/><Relationship Id="rId8"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13" Type="http://schemas.openxmlformats.org/officeDocument/2006/relationships/theme" Target="../theme/theme9.xml"/><Relationship Id="rId18" Type="http://schemas.openxmlformats.org/officeDocument/2006/relationships/tags" Target="../tags/tag455.xml"/><Relationship Id="rId26" Type="http://schemas.openxmlformats.org/officeDocument/2006/relationships/tags" Target="../tags/tag463.xml"/><Relationship Id="rId3" Type="http://schemas.openxmlformats.org/officeDocument/2006/relationships/slideLayout" Target="../slideLayouts/slideLayout102.xml"/><Relationship Id="rId21" Type="http://schemas.openxmlformats.org/officeDocument/2006/relationships/tags" Target="../tags/tag458.xml"/><Relationship Id="rId34" Type="http://schemas.openxmlformats.org/officeDocument/2006/relationships/image" Target="../media/image1.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tags" Target="../tags/tag454.xml"/><Relationship Id="rId25" Type="http://schemas.openxmlformats.org/officeDocument/2006/relationships/tags" Target="../tags/tag462.xml"/><Relationship Id="rId33" Type="http://schemas.openxmlformats.org/officeDocument/2006/relationships/oleObject" Target="../embeddings/oleObject1.bin"/><Relationship Id="rId2" Type="http://schemas.openxmlformats.org/officeDocument/2006/relationships/slideLayout" Target="../slideLayouts/slideLayout101.xml"/><Relationship Id="rId16" Type="http://schemas.openxmlformats.org/officeDocument/2006/relationships/tags" Target="../tags/tag453.xml"/><Relationship Id="rId20" Type="http://schemas.openxmlformats.org/officeDocument/2006/relationships/tags" Target="../tags/tag457.xml"/><Relationship Id="rId29" Type="http://schemas.openxmlformats.org/officeDocument/2006/relationships/tags" Target="../tags/tag46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tags" Target="../tags/tag461.xml"/><Relationship Id="rId32" Type="http://schemas.openxmlformats.org/officeDocument/2006/relationships/tags" Target="../tags/tag469.xml"/><Relationship Id="rId5" Type="http://schemas.openxmlformats.org/officeDocument/2006/relationships/slideLayout" Target="../slideLayouts/slideLayout104.xml"/><Relationship Id="rId15" Type="http://schemas.openxmlformats.org/officeDocument/2006/relationships/tags" Target="../tags/tag452.xml"/><Relationship Id="rId23" Type="http://schemas.openxmlformats.org/officeDocument/2006/relationships/tags" Target="../tags/tag460.xml"/><Relationship Id="rId28" Type="http://schemas.openxmlformats.org/officeDocument/2006/relationships/tags" Target="../tags/tag465.xml"/><Relationship Id="rId10" Type="http://schemas.openxmlformats.org/officeDocument/2006/relationships/slideLayout" Target="../slideLayouts/slideLayout109.xml"/><Relationship Id="rId19" Type="http://schemas.openxmlformats.org/officeDocument/2006/relationships/tags" Target="../tags/tag456.xml"/><Relationship Id="rId31" Type="http://schemas.openxmlformats.org/officeDocument/2006/relationships/tags" Target="../tags/tag46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ags" Target="../tags/tag451.xml"/><Relationship Id="rId22" Type="http://schemas.openxmlformats.org/officeDocument/2006/relationships/tags" Target="../tags/tag459.xml"/><Relationship Id="rId27" Type="http://schemas.openxmlformats.org/officeDocument/2006/relationships/tags" Target="../tags/tag464.xml"/><Relationship Id="rId30" Type="http://schemas.openxmlformats.org/officeDocument/2006/relationships/tags" Target="../tags/tag467.xml"/><Relationship Id="rId35" Type="http://schemas.openxmlformats.org/officeDocument/2006/relationships/image" Target="../media/image19.png"/><Relationship Id="rId8"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5"/>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13" imgH="416" progId="TCLayout.ActiveDocument.1">
                  <p:embed/>
                </p:oleObj>
              </mc:Choice>
              <mc:Fallback>
                <p:oleObj name="think-cell Slide" r:id="rId3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6"/>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7"/>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8"/>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9"/>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20"/>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1"/>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2"/>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3"/>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 id="2147483713" r:id="rId8"/>
    <p:sldLayoutId id="2147483726" r:id="rId9"/>
    <p:sldLayoutId id="2147483727" r:id="rId10"/>
    <p:sldLayoutId id="2147483728" r:id="rId11"/>
    <p:sldLayoutId id="2147483729" r:id="rId12"/>
    <p:sldLayoutId id="2147483730" r:id="rId13"/>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1906586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rgbClr val="1F497D"/>
          </a:solidFill>
          <a:ln w="25400" cap="flat" cmpd="sng" algn="ctr">
            <a:solidFill>
              <a:srgbClr val="1F497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151" name="Picture 2" descr="Seal of Massachusetts - Wikipedia">
            <a:extLst>
              <a:ext uri="{FF2B5EF4-FFF2-40B4-BE49-F238E27FC236}">
                <a16:creationId xmlns:a16="http://schemas.microsoft.com/office/drawing/2014/main" id="{1220DEBA-2E2F-4661-AA0C-922E6B034C55}"/>
              </a:ext>
            </a:extLst>
          </p:cNvPr>
          <p:cNvPicPr>
            <a:picLocks noChangeAspect="1" noChangeArrowheads="1"/>
          </p:cNvPicPr>
          <p:nvPr userDrawn="1"/>
        </p:nvPicPr>
        <p:blipFill>
          <a:blip r:embed="rId4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92333"/>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446276"/>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09E16B49-31DC-4A42-B89E-24F1DB245FFE}"/>
              </a:ext>
            </a:extLst>
          </p:cNvPr>
          <p:cNvSpPr/>
          <p:nvPr userDrawn="1"/>
        </p:nvSpPr>
        <p:spPr>
          <a:xfrm>
            <a:off x="2501202" y="6684968"/>
            <a:ext cx="7234827" cy="184666"/>
          </a:xfrm>
          <a:prstGeom prst="rect">
            <a:avLst/>
          </a:prstGeom>
        </p:spPr>
        <p:txBody>
          <a:bodyPr wrap="square">
            <a:spAutoFit/>
          </a:bodyPr>
          <a:lstStyle/>
          <a:p>
            <a:pPr algn="ctr"/>
            <a:r>
              <a:rPr lang="en-US" sz="800">
                <a:solidFill>
                  <a:schemeClr val="tx1"/>
                </a:solidFill>
                <a:effectLst/>
                <a:latin typeface="+mn-lt"/>
              </a:rPr>
              <a:t>CONFIDENTIAL AND PROPRIETARY. ANY USE OF THIS MATERIAL WITHOUT SPECIFIC PERMISSION OF THE OWNER IS STRICTLY PROHIBITED.</a:t>
            </a:r>
          </a:p>
        </p:txBody>
      </p:sp>
    </p:spTree>
    <p:extLst>
      <p:ext uri="{BB962C8B-B14F-4D97-AF65-F5344CB8AC3E}">
        <p14:creationId xmlns:p14="http://schemas.microsoft.com/office/powerpoint/2010/main" val="32926072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Lst>
  <p:hf sldNum="0" hd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bg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1"/>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3" imgH="416" progId="TCLayout.ActiveDocument.1">
                  <p:embed/>
                </p:oleObj>
              </mc:Choice>
              <mc:Fallback>
                <p:oleObj name="think-cell Slide" r:id="rId3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2"/>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3"/>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4"/>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16044624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2"/>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3" imgH="416" progId="TCLayout.ActiveDocument.1">
                  <p:embed/>
                </p:oleObj>
              </mc:Choice>
              <mc:Fallback>
                <p:oleObj name="think-cell Slide" r:id="rId3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3"/>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4"/>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5"/>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563132365"/>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3022049425"/>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1" r:id="rId15"/>
    <p:sldLayoutId id="2147483784" r:id="rId16"/>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3"/>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3" imgH="416" progId="TCLayout.ActiveDocument.1">
                  <p:embed/>
                </p:oleObj>
              </mc:Choice>
              <mc:Fallback>
                <p:oleObj name="think-cell Slide" r:id="rId3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4"/>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5"/>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6"/>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298502162"/>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54EAA6-1774-D76E-DA43-9D60E1130A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A5918C4-9EF4-434B-35FA-1FAAFB66B8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93008D-53DC-2169-9749-5FE7BC6C845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lang="en-US"/>
          </a:p>
        </p:txBody>
      </p:sp>
      <p:sp>
        <p:nvSpPr>
          <p:cNvPr id="5" name="Footer Placeholder 4">
            <a:extLst>
              <a:ext uri="{FF2B5EF4-FFF2-40B4-BE49-F238E27FC236}">
                <a16:creationId xmlns:a16="http://schemas.microsoft.com/office/drawing/2014/main" id="{B2D0598D-B3EF-0451-C050-6F16F33143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This presentation is for informational purposes only. For legal advice, please contact an attorney</a:t>
            </a:r>
          </a:p>
        </p:txBody>
      </p:sp>
      <p:sp>
        <p:nvSpPr>
          <p:cNvPr id="6" name="Slide Number Placeholder 5">
            <a:extLst>
              <a:ext uri="{FF2B5EF4-FFF2-40B4-BE49-F238E27FC236}">
                <a16:creationId xmlns:a16="http://schemas.microsoft.com/office/drawing/2014/main" id="{9FA5DBAE-BF95-D6C9-0735-FC89B571EC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5317EB1-737C-4A00-87E5-E580D80575C7}" type="slidenum">
              <a:rPr lang="en-US" smtClean="0"/>
              <a:t>‹#›</a:t>
            </a:fld>
            <a:endParaRPr lang="en-US"/>
          </a:p>
        </p:txBody>
      </p:sp>
    </p:spTree>
    <p:extLst>
      <p:ext uri="{BB962C8B-B14F-4D97-AF65-F5344CB8AC3E}">
        <p14:creationId xmlns:p14="http://schemas.microsoft.com/office/powerpoint/2010/main" val="453688356"/>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3" imgH="416" progId="TCLayout.ActiveDocument.1">
                  <p:embed/>
                </p:oleObj>
              </mc:Choice>
              <mc:Fallback>
                <p:oleObj name="think-cell Slide" r:id="rId3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3"/>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4"/>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5"/>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339947389"/>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Lst>
  <p:hf sldNum="0" hdr="0" ftr="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4"/>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13" imgH="416" progId="TCLayout.ActiveDocument.1">
                  <p:embed/>
                </p:oleObj>
              </mc:Choice>
              <mc:Fallback>
                <p:oleObj name="think-cell Slide" r:id="rId3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6"/>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7"/>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395997369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8.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image" Target="../media/image26.jpeg"/><Relationship Id="rId1" Type="http://schemas.openxmlformats.org/officeDocument/2006/relationships/slideLayout" Target="../slideLayouts/slideLayout9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ilrc.org/red-cards" TargetMode="Externa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6.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29.png"/><Relationship Id="rId7" Type="http://schemas.openxmlformats.org/officeDocument/2006/relationships/diagramColors" Target="../diagrams/colors10.xml"/><Relationship Id="rId2" Type="http://schemas.openxmlformats.org/officeDocument/2006/relationships/image" Target="../media/image28.jpeg"/><Relationship Id="rId1" Type="http://schemas.openxmlformats.org/officeDocument/2006/relationships/slideLayout" Target="../slideLayouts/slideLayout80.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microsoft.com/office/2018/10/relationships/comments" Target="../comments/modernComment_10A_CF4EF870.xml"/><Relationship Id="rId1" Type="http://schemas.openxmlformats.org/officeDocument/2006/relationships/slideLayout" Target="../slideLayouts/slideLayout98.xml"/><Relationship Id="rId4" Type="http://schemas.openxmlformats.org/officeDocument/2006/relationships/image" Target="../media/image31.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3.xml.rels><?xml version="1.0" encoding="UTF-8" standalone="yes"?>
<Relationships xmlns="http://schemas.openxmlformats.org/package/2006/relationships"><Relationship Id="rId2" Type="http://schemas.openxmlformats.org/officeDocument/2006/relationships/hyperlink" Target="https://locator.ice.gov/odls/#/search" TargetMode="Externa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image" Target="../media/image32.jpeg"/><Relationship Id="rId1" Type="http://schemas.openxmlformats.org/officeDocument/2006/relationships/slideLayout" Target="../slideLayouts/slideLayout97.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6.xml.rels><?xml version="1.0" encoding="UTF-8" standalone="yes"?>
<Relationships xmlns="http://schemas.openxmlformats.org/package/2006/relationships"><Relationship Id="rId2" Type="http://schemas.openxmlformats.org/officeDocument/2006/relationships/hyperlink" Target="https://locator.ice.gov/odls/homePage.do" TargetMode="External"/><Relationship Id="rId1" Type="http://schemas.openxmlformats.org/officeDocument/2006/relationships/slideLayout" Target="../slideLayouts/slideLayout80.xml"/></Relationships>
</file>

<file path=ppt/slides/_rels/slide27.xml.rels><?xml version="1.0" encoding="UTF-8" standalone="yes"?>
<Relationships xmlns="http://schemas.openxmlformats.org/package/2006/relationships"><Relationship Id="rId3" Type="http://schemas.openxmlformats.org/officeDocument/2006/relationships/hyperlink" Target="https://www.bmc.org/sites/default/files/Patient_Care/Specialty_Care/IRHP/family_preparedness_plan.pdf" TargetMode="External"/><Relationship Id="rId2" Type="http://schemas.openxmlformats.org/officeDocument/2006/relationships/hyperlink" Target="https://www.mass.gov/emergency-planning-guide-for-families" TargetMode="External"/><Relationship Id="rId1" Type="http://schemas.openxmlformats.org/officeDocument/2006/relationships/slideLayout" Target="../slideLayouts/slideLayout80.xml"/></Relationships>
</file>

<file path=ppt/slides/_rels/slide28.xml.rels><?xml version="1.0" encoding="UTF-8" standalone="yes"?>
<Relationships xmlns="http://schemas.openxmlformats.org/package/2006/relationships"><Relationship Id="rId3" Type="http://schemas.openxmlformats.org/officeDocument/2006/relationships/hyperlink" Target="https://www.mass.gov/community-resource-toolkit" TargetMode="External"/><Relationship Id="rId2" Type="http://schemas.openxmlformats.org/officeDocument/2006/relationships/hyperlink" Target="https://www.mass.gov/info-details/resources-for-immigrants-in-massachusetts" TargetMode="External"/><Relationship Id="rId1" Type="http://schemas.openxmlformats.org/officeDocument/2006/relationships/slideLayout" Target="../slideLayouts/slideLayout6.xml"/><Relationship Id="rId5" Type="http://schemas.openxmlformats.org/officeDocument/2006/relationships/image" Target="../media/image33.jpeg"/><Relationship Id="rId4" Type="http://schemas.openxmlformats.org/officeDocument/2006/relationships/hyperlink" Target="https://www.mass.gov/emergency-planning-guide-for-families" TargetMode="Externa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5.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ABC4D2FC-9DA2-0EB0-DFBC-2296D8B0B912}"/>
              </a:ext>
            </a:extLst>
          </p:cNvPr>
          <p:cNvSpPr>
            <a:spLocks noGrp="1"/>
          </p:cNvSpPr>
          <p:nvPr>
            <p:ph type="title"/>
          </p:nvPr>
        </p:nvSpPr>
        <p:spPr>
          <a:xfrm>
            <a:off x="2893929" y="1978792"/>
            <a:ext cx="8181508" cy="1354217"/>
          </a:xfrm>
        </p:spPr>
        <p:txBody>
          <a:bodyPr/>
          <a:lstStyle/>
          <a:p>
            <a:r>
              <a:rPr lang="en-US"/>
              <a:t>ORI Know Your Rights - updated</a:t>
            </a:r>
          </a:p>
        </p:txBody>
      </p:sp>
      <p:sp>
        <p:nvSpPr>
          <p:cNvPr id="2" name="Subtitle 1">
            <a:extLst>
              <a:ext uri="{FF2B5EF4-FFF2-40B4-BE49-F238E27FC236}">
                <a16:creationId xmlns:a16="http://schemas.microsoft.com/office/drawing/2014/main" id="{B21BC5EB-5E5E-0B59-70EC-76C1B1C267E3}"/>
              </a:ext>
            </a:extLst>
          </p:cNvPr>
          <p:cNvSpPr>
            <a:spLocks noGrp="1"/>
          </p:cNvSpPr>
          <p:nvPr>
            <p:ph type="subTitle" idx="1"/>
          </p:nvPr>
        </p:nvSpPr>
        <p:spPr/>
        <p:txBody>
          <a:bodyPr/>
          <a:lstStyle/>
          <a:p>
            <a:r>
              <a:rPr lang="en-US"/>
              <a:t>Q&amp;A on Immigration</a:t>
            </a:r>
          </a:p>
        </p:txBody>
      </p:sp>
      <p:sp>
        <p:nvSpPr>
          <p:cNvPr id="4" name="TextBox 3">
            <a:extLst>
              <a:ext uri="{FF2B5EF4-FFF2-40B4-BE49-F238E27FC236}">
                <a16:creationId xmlns:a16="http://schemas.microsoft.com/office/drawing/2014/main" id="{D3F2877C-A051-FEC2-4CA2-793052F9A028}"/>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23443385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5D65A-6FD4-6744-7AD9-2F458E591B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EF19BB-25D9-F222-0EB0-5B4B13E573AE}"/>
              </a:ext>
            </a:extLst>
          </p:cNvPr>
          <p:cNvSpPr>
            <a:spLocks noGrp="1"/>
          </p:cNvSpPr>
          <p:nvPr>
            <p:ph type="title"/>
          </p:nvPr>
        </p:nvSpPr>
        <p:spPr/>
        <p:txBody>
          <a:bodyPr/>
          <a:lstStyle/>
          <a:p>
            <a:r>
              <a:rPr lang="en-US"/>
              <a:t>State Judicial Warrants, Continued</a:t>
            </a:r>
          </a:p>
        </p:txBody>
      </p:sp>
      <p:pic>
        <p:nvPicPr>
          <p:cNvPr id="7" name="Content Placeholder 6">
            <a:extLst>
              <a:ext uri="{FF2B5EF4-FFF2-40B4-BE49-F238E27FC236}">
                <a16:creationId xmlns:a16="http://schemas.microsoft.com/office/drawing/2014/main" id="{4D565FCB-5F7B-BC06-D3B9-1E4BDF55F301}"/>
              </a:ext>
            </a:extLst>
          </p:cNvPr>
          <p:cNvPicPr>
            <a:picLocks noGrp="1" noChangeAspect="1"/>
          </p:cNvPicPr>
          <p:nvPr>
            <p:ph sz="quarter" idx="11"/>
          </p:nvPr>
        </p:nvPicPr>
        <p:blipFill>
          <a:blip r:embed="rId2"/>
          <a:stretch>
            <a:fillRect/>
          </a:stretch>
        </p:blipFill>
        <p:spPr>
          <a:xfrm>
            <a:off x="570706" y="1807030"/>
            <a:ext cx="11049000" cy="3103108"/>
          </a:xfrm>
        </p:spPr>
      </p:pic>
      <p:sp>
        <p:nvSpPr>
          <p:cNvPr id="5" name="Text Placeholder 4">
            <a:extLst>
              <a:ext uri="{FF2B5EF4-FFF2-40B4-BE49-F238E27FC236}">
                <a16:creationId xmlns:a16="http://schemas.microsoft.com/office/drawing/2014/main" id="{40E241E5-8D2D-3C28-40F1-20799FECED31}"/>
              </a:ext>
            </a:extLst>
          </p:cNvPr>
          <p:cNvSpPr>
            <a:spLocks noGrp="1"/>
          </p:cNvSpPr>
          <p:nvPr>
            <p:ph type="body" sz="quarter" idx="12"/>
          </p:nvPr>
        </p:nvSpPr>
        <p:spPr/>
        <p:txBody>
          <a:bodyPr/>
          <a:lstStyle/>
          <a:p>
            <a:r>
              <a:rPr lang="en-US"/>
              <a:t>Must be signed by Judge, Clerk Magistrate or Assistant Clerk</a:t>
            </a:r>
          </a:p>
        </p:txBody>
      </p:sp>
      <p:sp>
        <p:nvSpPr>
          <p:cNvPr id="6" name="TextBox 5">
            <a:extLst>
              <a:ext uri="{FF2B5EF4-FFF2-40B4-BE49-F238E27FC236}">
                <a16:creationId xmlns:a16="http://schemas.microsoft.com/office/drawing/2014/main" id="{D97C886B-0F70-30C6-E46D-A67AFC8B153A}"/>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26175033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44"/>
        <p:cNvGrpSpPr/>
        <p:nvPr/>
      </p:nvGrpSpPr>
      <p:grpSpPr>
        <a:xfrm>
          <a:off x="0" y="0"/>
          <a:ext cx="0" cy="0"/>
          <a:chOff x="0" y="0"/>
          <a:chExt cx="0" cy="0"/>
        </a:xfrm>
      </p:grpSpPr>
      <p:sp>
        <p:nvSpPr>
          <p:cNvPr id="345" name="Google Shape;345;p56"/>
          <p:cNvSpPr txBox="1">
            <a:spLocks noGrp="1"/>
          </p:cNvSpPr>
          <p:nvPr>
            <p:ph type="title"/>
          </p:nvPr>
        </p:nvSpPr>
        <p:spPr>
          <a:prstGeom prst="rect">
            <a:avLst/>
          </a:prstGeom>
          <a:noFill/>
          <a:ln>
            <a:noFill/>
          </a:ln>
        </p:spPr>
        <p:txBody>
          <a:bodyPr spcFirstLastPara="1" vert="horz" wrap="square" lIns="91433" tIns="45700" rIns="91433" bIns="45700" rtlCol="0" anchor="ctr" anchorCtr="0">
            <a:noAutofit/>
          </a:bodyPr>
          <a:lstStyle/>
          <a:p>
            <a:pPr>
              <a:buSzPts val="2700"/>
            </a:pPr>
            <a:r>
              <a:rPr lang="en-US" sz="3000"/>
              <a:t>If Immigration Comes to Your Home</a:t>
            </a:r>
          </a:p>
        </p:txBody>
      </p:sp>
      <p:sp>
        <p:nvSpPr>
          <p:cNvPr id="3" name="Content Placeholder 2">
            <a:extLst>
              <a:ext uri="{FF2B5EF4-FFF2-40B4-BE49-F238E27FC236}">
                <a16:creationId xmlns:a16="http://schemas.microsoft.com/office/drawing/2014/main" id="{41889404-F9B8-33DA-637A-773A1851C92C}"/>
              </a:ext>
            </a:extLst>
          </p:cNvPr>
          <p:cNvSpPr>
            <a:spLocks noGrp="1"/>
          </p:cNvSpPr>
          <p:nvPr>
            <p:ph idx="1"/>
          </p:nvPr>
        </p:nvSpPr>
        <p:spPr>
          <a:xfrm>
            <a:off x="838200" y="1222744"/>
            <a:ext cx="8113643" cy="4954219"/>
          </a:xfrm>
        </p:spPr>
        <p:txBody>
          <a:bodyPr vert="horz" wrap="square" lIns="0" tIns="0" rIns="0" bIns="0" rtlCol="0" anchor="t">
            <a:normAutofit/>
          </a:bodyPr>
          <a:lstStyle/>
          <a:p>
            <a:pPr marL="236855" indent="-249555">
              <a:lnSpc>
                <a:spcPct val="115000"/>
              </a:lnSpc>
              <a:spcBef>
                <a:spcPts val="0"/>
              </a:spcBef>
              <a:buSzPct val="100000"/>
            </a:pPr>
            <a:r>
              <a:rPr lang="en-US" b="1">
                <a:cs typeface="Arial"/>
              </a:rPr>
              <a:t>S</a:t>
            </a:r>
            <a:r>
              <a:rPr lang="en-US" sz="2400" b="1">
                <a:cs typeface="Arial"/>
              </a:rPr>
              <a:t>tay calm</a:t>
            </a:r>
            <a:r>
              <a:rPr lang="en-US" b="1">
                <a:cs typeface="Arial"/>
              </a:rPr>
              <a:t>, take a deep breath</a:t>
            </a:r>
            <a:r>
              <a:rPr lang="en-US" sz="2400">
                <a:cs typeface="Arial"/>
              </a:rPr>
              <a:t>  </a:t>
            </a:r>
            <a:endParaRPr lang="en-US">
              <a:cs typeface="Arial"/>
            </a:endParaRPr>
          </a:p>
          <a:p>
            <a:pPr marL="236855" indent="-249555">
              <a:lnSpc>
                <a:spcPct val="115000"/>
              </a:lnSpc>
              <a:spcBef>
                <a:spcPts val="0"/>
              </a:spcBef>
              <a:buSzPct val="100000"/>
            </a:pPr>
            <a:r>
              <a:rPr lang="en-US" sz="2100">
                <a:solidFill>
                  <a:schemeClr val="dk1"/>
                </a:solidFill>
                <a:cs typeface="Arial"/>
              </a:rPr>
              <a:t>Legally, you do not need to open the door unless the officer provides you with a warrant signed by a judge</a:t>
            </a:r>
          </a:p>
          <a:p>
            <a:pPr marL="236855" indent="-249555">
              <a:lnSpc>
                <a:spcPct val="115000"/>
              </a:lnSpc>
              <a:buClr>
                <a:schemeClr val="dk1"/>
              </a:buClr>
              <a:buSzPct val="100000"/>
            </a:pPr>
            <a:r>
              <a:rPr lang="en-US" sz="2100">
                <a:solidFill>
                  <a:schemeClr val="dk1"/>
                </a:solidFill>
                <a:cs typeface="Arial"/>
              </a:rPr>
              <a:t>You may ask officers to identify themselves (agency, name, ID) </a:t>
            </a:r>
          </a:p>
          <a:p>
            <a:pPr marL="236855" indent="-249555">
              <a:lnSpc>
                <a:spcPct val="115000"/>
              </a:lnSpc>
              <a:buClr>
                <a:schemeClr val="dk1"/>
              </a:buClr>
              <a:buSzPct val="100000"/>
            </a:pPr>
            <a:r>
              <a:rPr lang="en-US" sz="2100">
                <a:solidFill>
                  <a:schemeClr val="dk1"/>
                </a:solidFill>
                <a:cs typeface="Arial"/>
              </a:rPr>
              <a:t>You may ask if they have a </a:t>
            </a:r>
            <a:r>
              <a:rPr lang="en-US" sz="2100" b="1">
                <a:solidFill>
                  <a:srgbClr val="C00000"/>
                </a:solidFill>
                <a:cs typeface="Arial"/>
              </a:rPr>
              <a:t>warrant</a:t>
            </a:r>
            <a:r>
              <a:rPr lang="en-US" sz="2100">
                <a:solidFill>
                  <a:schemeClr val="dk1"/>
                </a:solidFill>
                <a:cs typeface="Arial"/>
              </a:rPr>
              <a:t> signed by a judge</a:t>
            </a:r>
          </a:p>
          <a:p>
            <a:pPr marL="236855" indent="-249555">
              <a:lnSpc>
                <a:spcPct val="115000"/>
              </a:lnSpc>
              <a:buClr>
                <a:schemeClr val="dk1"/>
              </a:buClr>
              <a:buSzPct val="100000"/>
            </a:pPr>
            <a:r>
              <a:rPr lang="en-US" sz="2100">
                <a:solidFill>
                  <a:schemeClr val="dk1"/>
                </a:solidFill>
                <a:cs typeface="Arial"/>
              </a:rPr>
              <a:t>You may assert your right to remain silent and to an attorney, including if arrested by ICE. If you choose to invoke that right, state to officers “I request my right to silence and to an attorney”</a:t>
            </a:r>
          </a:p>
          <a:p>
            <a:pPr marL="236855" indent="-249555">
              <a:lnSpc>
                <a:spcPct val="114999"/>
              </a:lnSpc>
              <a:buClr>
                <a:schemeClr val="dk1"/>
              </a:buClr>
              <a:buSzPct val="100000"/>
            </a:pPr>
            <a:r>
              <a:rPr lang="en-US" sz="2100">
                <a:solidFill>
                  <a:schemeClr val="dk1"/>
                </a:solidFill>
                <a:cs typeface="Arial"/>
              </a:rPr>
              <a:t>One way to assert these rights is to slide a “Know Your Rights” card under the door </a:t>
            </a:r>
          </a:p>
          <a:p>
            <a:pPr marL="236855" indent="-249555">
              <a:lnSpc>
                <a:spcPct val="115000"/>
              </a:lnSpc>
              <a:buClr>
                <a:schemeClr val="dk1"/>
              </a:buClr>
              <a:buSzPct val="100000"/>
            </a:pPr>
            <a:r>
              <a:rPr lang="en-US" sz="2100">
                <a:solidFill>
                  <a:schemeClr val="dk1"/>
                </a:solidFill>
                <a:cs typeface="Arial"/>
              </a:rPr>
              <a:t>For help, call a US citizen friend,  family member or an attorney</a:t>
            </a:r>
          </a:p>
          <a:p>
            <a:endParaRPr lang="en-US"/>
          </a:p>
        </p:txBody>
      </p:sp>
      <p:pic>
        <p:nvPicPr>
          <p:cNvPr id="405" name="Google Shape;405;p62"/>
          <p:cNvPicPr preferRelativeResize="0"/>
          <p:nvPr/>
        </p:nvPicPr>
        <p:blipFill rotWithShape="1">
          <a:blip r:embed="rId3">
            <a:alphaModFix/>
          </a:blip>
          <a:srcRect/>
          <a:stretch/>
        </p:blipFill>
        <p:spPr>
          <a:xfrm>
            <a:off x="9056791" y="1222744"/>
            <a:ext cx="2876203" cy="4573341"/>
          </a:xfrm>
          <a:prstGeom prst="rect">
            <a:avLst/>
          </a:prstGeom>
          <a:noFill/>
          <a:ln>
            <a:noFill/>
          </a:ln>
        </p:spPr>
      </p:pic>
      <p:sp>
        <p:nvSpPr>
          <p:cNvPr id="4" name="TextBox 3">
            <a:extLst>
              <a:ext uri="{FF2B5EF4-FFF2-40B4-BE49-F238E27FC236}">
                <a16:creationId xmlns:a16="http://schemas.microsoft.com/office/drawing/2014/main" id="{ECF0281F-85BC-9A5A-8A4B-437042FEF181}"/>
              </a:ext>
            </a:extLst>
          </p:cNvPr>
          <p:cNvSpPr txBox="1"/>
          <p:nvPr/>
        </p:nvSpPr>
        <p:spPr>
          <a:xfrm>
            <a:off x="3046" y="6641693"/>
            <a:ext cx="12188169" cy="215444"/>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r>
              <a:rPr kumimoji="0" lang="en-US" sz="1400" b="1" i="0" u="none" strike="noStrike" kern="1200" cap="none" spc="0" normalizeH="0" baseline="0" noProof="0">
                <a:ln>
                  <a:noFill/>
                </a:ln>
                <a:solidFill>
                  <a:srgbClr val="000000"/>
                </a:solidFill>
                <a:effectLst/>
                <a:uLnTx/>
                <a:uFillTx/>
                <a:latin typeface="Arial"/>
                <a:ea typeface="+mn-ea"/>
                <a:cs typeface="Arial"/>
              </a:rPr>
              <a:t>.</a:t>
            </a:r>
          </a:p>
        </p:txBody>
      </p:sp>
    </p:spTree>
    <p:extLst>
      <p:ext uri="{BB962C8B-B14F-4D97-AF65-F5344CB8AC3E}">
        <p14:creationId xmlns:p14="http://schemas.microsoft.com/office/powerpoint/2010/main" val="9287346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C15D759-5B6B-3FE5-D2A9-0B0ED7B0A54E}"/>
              </a:ext>
            </a:extLst>
          </p:cNvPr>
          <p:cNvSpPr>
            <a:spLocks noGrp="1"/>
          </p:cNvSpPr>
          <p:nvPr>
            <p:ph type="title"/>
          </p:nvPr>
        </p:nvSpPr>
        <p:spPr>
          <a:xfrm>
            <a:off x="692301" y="120015"/>
            <a:ext cx="10602418" cy="731520"/>
          </a:xfrm>
        </p:spPr>
        <p:txBody>
          <a:bodyPr wrap="square" anchor="b">
            <a:normAutofit/>
          </a:bodyPr>
          <a:lstStyle/>
          <a:p>
            <a:pPr algn="ctr"/>
            <a:r>
              <a:rPr lang="en-US" sz="3600"/>
              <a:t>General Rules &amp; Requirements of ICE</a:t>
            </a:r>
          </a:p>
        </p:txBody>
      </p:sp>
      <p:sp>
        <p:nvSpPr>
          <p:cNvPr id="5" name="Content Placeholder 4">
            <a:extLst>
              <a:ext uri="{FF2B5EF4-FFF2-40B4-BE49-F238E27FC236}">
                <a16:creationId xmlns:a16="http://schemas.microsoft.com/office/drawing/2014/main" id="{03A95034-5689-E984-B32D-A7DF3A3FAF35}"/>
              </a:ext>
            </a:extLst>
          </p:cNvPr>
          <p:cNvSpPr>
            <a:spLocks noGrp="1"/>
          </p:cNvSpPr>
          <p:nvPr>
            <p:ph sz="quarter" idx="12"/>
          </p:nvPr>
        </p:nvSpPr>
        <p:spPr>
          <a:xfrm>
            <a:off x="6198489" y="1772239"/>
            <a:ext cx="5438775" cy="4599986"/>
          </a:xfrm>
        </p:spPr>
        <p:txBody>
          <a:bodyPr wrap="square">
            <a:normAutofit/>
          </a:bodyPr>
          <a:lstStyle/>
          <a:p>
            <a:r>
              <a:rPr lang="en-US" sz="2400" b="1" i="1"/>
              <a:t>Wearing a Mask:</a:t>
            </a:r>
          </a:p>
          <a:p>
            <a:pPr lvl="1"/>
            <a:r>
              <a:rPr lang="en-US" sz="2400"/>
              <a:t>No known prohibitions</a:t>
            </a:r>
          </a:p>
          <a:p>
            <a:pPr lvl="1"/>
            <a:endParaRPr lang="en-US" sz="2400" b="1" i="1"/>
          </a:p>
          <a:p>
            <a:pPr marL="231775" lvl="1" indent="0">
              <a:buNone/>
            </a:pPr>
            <a:endParaRPr lang="en-US" sz="2400"/>
          </a:p>
          <a:p>
            <a:r>
              <a:rPr lang="en-US" sz="2400" b="1" i="1"/>
              <a:t>Showing a Badge:</a:t>
            </a:r>
          </a:p>
          <a:p>
            <a:pPr lvl="1"/>
            <a:r>
              <a:rPr lang="en-US" sz="2400" b="0" i="0">
                <a:solidFill>
                  <a:srgbClr val="1F1F1F"/>
                </a:solidFill>
                <a:effectLst/>
                <a:latin typeface="Google Sans"/>
              </a:rPr>
              <a:t>As soon as practicable and safe to do so during arrest</a:t>
            </a:r>
            <a:r>
              <a:rPr lang="en-US" sz="2400" b="0" i="0">
                <a:solidFill>
                  <a:srgbClr val="001D35"/>
                </a:solidFill>
                <a:effectLst/>
                <a:latin typeface="Google Sans"/>
              </a:rPr>
              <a:t>. </a:t>
            </a:r>
          </a:p>
          <a:p>
            <a:pPr lvl="1"/>
            <a:r>
              <a:rPr lang="en-US" sz="2400">
                <a:solidFill>
                  <a:srgbClr val="001D35"/>
                </a:solidFill>
                <a:latin typeface="Google Sans"/>
              </a:rPr>
              <a:t>Interpreted often as at end of arrest</a:t>
            </a:r>
            <a:endParaRPr lang="en-US" sz="2400" b="1" i="1"/>
          </a:p>
        </p:txBody>
      </p:sp>
      <p:sp>
        <p:nvSpPr>
          <p:cNvPr id="7" name="Text Placeholder 6">
            <a:extLst>
              <a:ext uri="{FF2B5EF4-FFF2-40B4-BE49-F238E27FC236}">
                <a16:creationId xmlns:a16="http://schemas.microsoft.com/office/drawing/2014/main" id="{45D144A9-3818-2CF9-CA07-FC7C4B402594}"/>
              </a:ext>
            </a:extLst>
          </p:cNvPr>
          <p:cNvSpPr>
            <a:spLocks noGrp="1"/>
          </p:cNvSpPr>
          <p:nvPr>
            <p:ph type="body" sz="quarter" idx="13"/>
          </p:nvPr>
        </p:nvSpPr>
        <p:spPr>
          <a:xfrm>
            <a:off x="554037" y="1101337"/>
            <a:ext cx="11082528" cy="276999"/>
          </a:xfrm>
        </p:spPr>
        <p:txBody>
          <a:bodyPr wrap="square">
            <a:noAutofit/>
          </a:bodyPr>
          <a:lstStyle/>
          <a:p>
            <a:r>
              <a:rPr lang="en-US" sz="2800"/>
              <a:t>The rules differ based on where ICE is trying to arrest the person</a:t>
            </a:r>
          </a:p>
        </p:txBody>
      </p:sp>
      <p:graphicFrame>
        <p:nvGraphicFramePr>
          <p:cNvPr id="9" name="Content Placeholder 5">
            <a:extLst>
              <a:ext uri="{FF2B5EF4-FFF2-40B4-BE49-F238E27FC236}">
                <a16:creationId xmlns:a16="http://schemas.microsoft.com/office/drawing/2014/main" id="{703CE17F-15E8-4AF7-C8EB-22A61877CBB5}"/>
              </a:ext>
            </a:extLst>
          </p:cNvPr>
          <p:cNvGraphicFramePr>
            <a:graphicFrameLocks noGrp="1"/>
          </p:cNvGraphicFramePr>
          <p:nvPr>
            <p:ph sz="quarter" idx="11"/>
          </p:nvPr>
        </p:nvGraphicFramePr>
        <p:xfrm>
          <a:off x="554735" y="1514475"/>
          <a:ext cx="5438775" cy="4857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B53B818F-2B28-56ED-8F63-AF28A2A3F8DA}"/>
              </a:ext>
            </a:extLst>
          </p:cNvPr>
          <p:cNvSpPr txBox="1"/>
          <p:nvPr/>
        </p:nvSpPr>
        <p:spPr>
          <a:xfrm>
            <a:off x="0" y="6607040"/>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12225271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9AF3D7-F41C-624F-84C7-5157C58BA2E2}"/>
              </a:ext>
            </a:extLst>
          </p:cNvPr>
          <p:cNvSpPr>
            <a:spLocks noGrp="1"/>
          </p:cNvSpPr>
          <p:nvPr>
            <p:ph type="title"/>
          </p:nvPr>
        </p:nvSpPr>
        <p:spPr/>
        <p:txBody>
          <a:bodyPr wrap="square" anchor="b">
            <a:normAutofit/>
          </a:bodyPr>
          <a:lstStyle/>
          <a:p>
            <a:r>
              <a:rPr lang="en-US" sz="3300"/>
              <a:t>ICE arrests Outside a Home, Without a Warrant</a:t>
            </a:r>
          </a:p>
        </p:txBody>
      </p:sp>
      <p:graphicFrame>
        <p:nvGraphicFramePr>
          <p:cNvPr id="9" name="Content Placeholder 6">
            <a:extLst>
              <a:ext uri="{FF2B5EF4-FFF2-40B4-BE49-F238E27FC236}">
                <a16:creationId xmlns:a16="http://schemas.microsoft.com/office/drawing/2014/main" id="{698F8876-54FF-6A02-09F5-1ABFE194C49D}"/>
              </a:ext>
            </a:extLst>
          </p:cNvPr>
          <p:cNvGraphicFramePr>
            <a:graphicFrameLocks noGrp="1"/>
          </p:cNvGraphicFramePr>
          <p:nvPr>
            <p:ph sz="quarter" idx="11"/>
            <p:extLst>
              <p:ext uri="{D42A27DB-BD31-4B8C-83A1-F6EECF244321}">
                <p14:modId xmlns:p14="http://schemas.microsoft.com/office/powerpoint/2010/main" val="233462739"/>
              </p:ext>
            </p:extLst>
          </p:nvPr>
        </p:nvGraphicFramePr>
        <p:xfrm>
          <a:off x="554038" y="1514475"/>
          <a:ext cx="11082337" cy="4857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2">
            <a:extLst>
              <a:ext uri="{FF2B5EF4-FFF2-40B4-BE49-F238E27FC236}">
                <a16:creationId xmlns:a16="http://schemas.microsoft.com/office/drawing/2014/main" id="{5408801E-C355-1483-F69F-777972AF5FA2}"/>
              </a:ext>
            </a:extLst>
          </p:cNvPr>
          <p:cNvSpPr>
            <a:spLocks noGrp="1"/>
          </p:cNvSpPr>
          <p:nvPr>
            <p:ph type="body" sz="quarter" idx="12"/>
          </p:nvPr>
        </p:nvSpPr>
        <p:spPr/>
        <p:txBody>
          <a:bodyPr/>
          <a:lstStyle/>
          <a:p>
            <a:r>
              <a:rPr lang="en-US"/>
              <a:t>ICE may make arrests outside the home, in certain circumstances, without a warrant.</a:t>
            </a:r>
          </a:p>
        </p:txBody>
      </p:sp>
      <p:sp>
        <p:nvSpPr>
          <p:cNvPr id="2" name="TextBox 1">
            <a:extLst>
              <a:ext uri="{FF2B5EF4-FFF2-40B4-BE49-F238E27FC236}">
                <a16:creationId xmlns:a16="http://schemas.microsoft.com/office/drawing/2014/main" id="{61DFE626-CB0C-6B36-209F-F868000A6E53}"/>
              </a:ext>
            </a:extLst>
          </p:cNvPr>
          <p:cNvSpPr txBox="1"/>
          <p:nvPr/>
        </p:nvSpPr>
        <p:spPr>
          <a:xfrm>
            <a:off x="0" y="6697467"/>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2692835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2D9A5-45F7-0039-4398-30C795698E09}"/>
              </a:ext>
            </a:extLst>
          </p:cNvPr>
          <p:cNvSpPr>
            <a:spLocks noGrp="1"/>
          </p:cNvSpPr>
          <p:nvPr>
            <p:ph type="title"/>
          </p:nvPr>
        </p:nvSpPr>
        <p:spPr>
          <a:xfrm>
            <a:off x="139700" y="166487"/>
            <a:ext cx="10515600" cy="650875"/>
          </a:xfrm>
        </p:spPr>
        <p:txBody>
          <a:bodyPr wrap="square" anchor="ctr">
            <a:normAutofit/>
          </a:bodyPr>
          <a:lstStyle/>
          <a:p>
            <a:r>
              <a:rPr lang="en-US"/>
              <a:t>Does ICE have to show an administrative warrant?</a:t>
            </a:r>
          </a:p>
        </p:txBody>
      </p:sp>
      <p:graphicFrame>
        <p:nvGraphicFramePr>
          <p:cNvPr id="8" name="Content Placeholder 1">
            <a:extLst>
              <a:ext uri="{FF2B5EF4-FFF2-40B4-BE49-F238E27FC236}">
                <a16:creationId xmlns:a16="http://schemas.microsoft.com/office/drawing/2014/main" id="{CBD4C0EE-D0EA-DC17-340C-BC6EFBCBC8B3}"/>
              </a:ext>
            </a:extLst>
          </p:cNvPr>
          <p:cNvGraphicFramePr>
            <a:graphicFrameLocks noGrp="1"/>
          </p:cNvGraphicFramePr>
          <p:nvPr>
            <p:ph idx="1"/>
            <p:extLst>
              <p:ext uri="{D42A27DB-BD31-4B8C-83A1-F6EECF244321}">
                <p14:modId xmlns:p14="http://schemas.microsoft.com/office/powerpoint/2010/main" val="1010660003"/>
              </p:ext>
            </p:extLst>
          </p:nvPr>
        </p:nvGraphicFramePr>
        <p:xfrm>
          <a:off x="838200" y="1348390"/>
          <a:ext cx="10515600" cy="48830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TextBox 13">
            <a:extLst>
              <a:ext uri="{FF2B5EF4-FFF2-40B4-BE49-F238E27FC236}">
                <a16:creationId xmlns:a16="http://schemas.microsoft.com/office/drawing/2014/main" id="{AE7A03C3-2CD2-A0A4-3C8A-A68C2EE0B353}"/>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34312730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08236-A543-8D44-5E36-E3AAB7E6ACA7}"/>
              </a:ext>
            </a:extLst>
          </p:cNvPr>
          <p:cNvSpPr>
            <a:spLocks noGrp="1"/>
          </p:cNvSpPr>
          <p:nvPr>
            <p:ph type="title"/>
          </p:nvPr>
        </p:nvSpPr>
        <p:spPr>
          <a:xfrm>
            <a:off x="139700" y="166487"/>
            <a:ext cx="10515600" cy="650875"/>
          </a:xfrm>
        </p:spPr>
        <p:txBody>
          <a:bodyPr wrap="square" anchor="ctr">
            <a:normAutofit/>
          </a:bodyPr>
          <a:lstStyle/>
          <a:p>
            <a:pPr algn="ctr"/>
            <a:r>
              <a:rPr lang="en-US" i="1"/>
              <a:t>Rights and Responsibilities of Bystanders</a:t>
            </a:r>
          </a:p>
        </p:txBody>
      </p:sp>
      <p:graphicFrame>
        <p:nvGraphicFramePr>
          <p:cNvPr id="19" name="Content Placeholder 4">
            <a:extLst>
              <a:ext uri="{FF2B5EF4-FFF2-40B4-BE49-F238E27FC236}">
                <a16:creationId xmlns:a16="http://schemas.microsoft.com/office/drawing/2014/main" id="{7DF2D0A5-605C-B8F2-7EDB-E789AEEC6253}"/>
              </a:ext>
            </a:extLst>
          </p:cNvPr>
          <p:cNvGraphicFramePr>
            <a:graphicFrameLocks noGrp="1"/>
          </p:cNvGraphicFramePr>
          <p:nvPr>
            <p:ph idx="1"/>
            <p:extLst>
              <p:ext uri="{D42A27DB-BD31-4B8C-83A1-F6EECF244321}">
                <p14:modId xmlns:p14="http://schemas.microsoft.com/office/powerpoint/2010/main" val="3207714197"/>
              </p:ext>
            </p:extLst>
          </p:nvPr>
        </p:nvGraphicFramePr>
        <p:xfrm>
          <a:off x="838200" y="1293962"/>
          <a:ext cx="10515600" cy="48830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9FB27E8E-04BC-AE33-B75C-6119A9911F00}"/>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8560864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340CC2-AF7B-0ABC-AA45-BAD9A9A556B8}"/>
              </a:ext>
            </a:extLst>
          </p:cNvPr>
          <p:cNvSpPr>
            <a:spLocks noGrp="1"/>
          </p:cNvSpPr>
          <p:nvPr>
            <p:ph type="title"/>
          </p:nvPr>
        </p:nvSpPr>
        <p:spPr/>
        <p:txBody>
          <a:bodyPr/>
          <a:lstStyle/>
          <a:p>
            <a:r>
              <a:rPr lang="en-US"/>
              <a:t>Helpful Bystander Actions</a:t>
            </a:r>
          </a:p>
        </p:txBody>
      </p:sp>
      <p:sp>
        <p:nvSpPr>
          <p:cNvPr id="6" name="Content Placeholder 5">
            <a:extLst>
              <a:ext uri="{FF2B5EF4-FFF2-40B4-BE49-F238E27FC236}">
                <a16:creationId xmlns:a16="http://schemas.microsoft.com/office/drawing/2014/main" id="{CF1A01C0-9368-3E2E-412A-62FFC9E8CB80}"/>
              </a:ext>
            </a:extLst>
          </p:cNvPr>
          <p:cNvSpPr>
            <a:spLocks noGrp="1"/>
          </p:cNvSpPr>
          <p:nvPr>
            <p:ph sz="quarter" idx="11"/>
          </p:nvPr>
        </p:nvSpPr>
        <p:spPr>
          <a:xfrm>
            <a:off x="554735" y="1514475"/>
            <a:ext cx="5438775" cy="5439951"/>
          </a:xfrm>
        </p:spPr>
        <p:txBody>
          <a:bodyPr/>
          <a:lstStyle/>
          <a:p>
            <a:r>
              <a:rPr lang="en-US" b="1">
                <a:highlight>
                  <a:srgbClr val="FFFF00"/>
                </a:highlight>
              </a:rPr>
              <a:t>Bystander first amendment rights</a:t>
            </a:r>
            <a:r>
              <a:rPr lang="en-US"/>
              <a:t>:</a:t>
            </a:r>
          </a:p>
          <a:p>
            <a:endParaRPr lang="en-US"/>
          </a:p>
          <a:p>
            <a:r>
              <a:rPr lang="en-US" b="1"/>
              <a:t>Videotaping:</a:t>
            </a:r>
          </a:p>
          <a:p>
            <a:pPr lvl="1"/>
            <a:r>
              <a:rPr lang="en-US"/>
              <a:t>Car license plates (Victim &amp; Police)</a:t>
            </a:r>
          </a:p>
          <a:p>
            <a:pPr lvl="1"/>
            <a:r>
              <a:rPr lang="en-US"/>
              <a:t>Vests of Officers (FBI? ATF? HSI?)</a:t>
            </a:r>
          </a:p>
          <a:p>
            <a:pPr lvl="1"/>
            <a:r>
              <a:rPr lang="en-US"/>
              <a:t>Arrest &amp; Placement in car</a:t>
            </a:r>
          </a:p>
          <a:p>
            <a:pPr lvl="1"/>
            <a:r>
              <a:rPr lang="en-US"/>
              <a:t>Any audio</a:t>
            </a:r>
          </a:p>
          <a:p>
            <a:pPr lvl="1"/>
            <a:r>
              <a:rPr lang="en-US"/>
              <a:t>Bystanders' impressions (after they leave)</a:t>
            </a:r>
          </a:p>
          <a:p>
            <a:pPr lvl="1"/>
            <a:endParaRPr lang="en-US"/>
          </a:p>
          <a:p>
            <a:r>
              <a:rPr lang="en-US" b="1"/>
              <a:t>Notetaking after the fact</a:t>
            </a:r>
            <a:r>
              <a:rPr lang="en-US"/>
              <a:t>:</a:t>
            </a:r>
          </a:p>
          <a:p>
            <a:pPr lvl="1"/>
            <a:r>
              <a:rPr lang="en-US"/>
              <a:t>Who was there</a:t>
            </a:r>
          </a:p>
          <a:p>
            <a:pPr lvl="1"/>
            <a:r>
              <a:rPr lang="en-US"/>
              <a:t>How many people, How long</a:t>
            </a:r>
          </a:p>
          <a:p>
            <a:pPr lvl="1"/>
            <a:r>
              <a:rPr lang="en-US"/>
              <a:t>Describe the officers</a:t>
            </a:r>
          </a:p>
          <a:p>
            <a:pPr lvl="1"/>
            <a:r>
              <a:rPr lang="en-US"/>
              <a:t>Describe number of cars</a:t>
            </a:r>
          </a:p>
          <a:p>
            <a:pPr lvl="1"/>
            <a:r>
              <a:rPr lang="en-US"/>
              <a:t>Any damage to cars/people</a:t>
            </a:r>
          </a:p>
          <a:p>
            <a:pPr lvl="1"/>
            <a:endParaRPr lang="en-US"/>
          </a:p>
          <a:p>
            <a:pPr lvl="1"/>
            <a:endParaRPr lang="en-US"/>
          </a:p>
        </p:txBody>
      </p:sp>
      <p:sp>
        <p:nvSpPr>
          <p:cNvPr id="7" name="Content Placeholder 6">
            <a:extLst>
              <a:ext uri="{FF2B5EF4-FFF2-40B4-BE49-F238E27FC236}">
                <a16:creationId xmlns:a16="http://schemas.microsoft.com/office/drawing/2014/main" id="{545B22BE-32D8-480A-0F00-FDC7025C8927}"/>
              </a:ext>
            </a:extLst>
          </p:cNvPr>
          <p:cNvSpPr>
            <a:spLocks noGrp="1"/>
          </p:cNvSpPr>
          <p:nvPr>
            <p:ph sz="quarter" idx="12"/>
          </p:nvPr>
        </p:nvSpPr>
        <p:spPr>
          <a:xfrm>
            <a:off x="6198489" y="1514475"/>
            <a:ext cx="5438775" cy="5132174"/>
          </a:xfrm>
        </p:spPr>
        <p:txBody>
          <a:bodyPr/>
          <a:lstStyle/>
          <a:p>
            <a:r>
              <a:rPr lang="en-US" b="1">
                <a:highlight>
                  <a:srgbClr val="FFFF00"/>
                </a:highlight>
              </a:rPr>
              <a:t>If you Choose To help the person arrested:</a:t>
            </a:r>
          </a:p>
          <a:p>
            <a:endParaRPr lang="en-US"/>
          </a:p>
          <a:p>
            <a:pPr lvl="1"/>
            <a:r>
              <a:rPr lang="en-US"/>
              <a:t>Ask the person being arrested: Who can we call</a:t>
            </a:r>
          </a:p>
          <a:p>
            <a:pPr lvl="1"/>
            <a:r>
              <a:rPr lang="en-US"/>
              <a:t>Ask if they have an Attorney, get name and #</a:t>
            </a:r>
          </a:p>
          <a:p>
            <a:pPr lvl="1"/>
            <a:r>
              <a:rPr lang="en-US"/>
              <a:t>‘Ask if they have a spouse or child, can you call them, get name and #</a:t>
            </a:r>
          </a:p>
          <a:p>
            <a:pPr lvl="1"/>
            <a:r>
              <a:rPr lang="en-US"/>
              <a:t>Ask them what the language is of the person you are calling and have a translator</a:t>
            </a:r>
          </a:p>
          <a:p>
            <a:pPr lvl="1"/>
            <a:r>
              <a:rPr lang="en-US"/>
              <a:t>PERMISSIONS are important: do I have your permission to call your spouse, your lawyer, can the video be shared?</a:t>
            </a:r>
          </a:p>
          <a:p>
            <a:pPr lvl="1"/>
            <a:r>
              <a:rPr lang="en-US"/>
              <a:t>REMIND people they have rights, read Red cards to the person.</a:t>
            </a:r>
          </a:p>
          <a:p>
            <a:pPr lvl="1"/>
            <a:r>
              <a:rPr lang="en-US"/>
              <a:t>TIME is very important. Tell them you want to call someone fast</a:t>
            </a:r>
          </a:p>
          <a:p>
            <a:pPr marL="231775" lvl="1" indent="0">
              <a:buNone/>
            </a:pPr>
            <a:endParaRPr lang="en-US"/>
          </a:p>
          <a:p>
            <a:pPr lvl="1"/>
            <a:endParaRPr lang="en-US"/>
          </a:p>
        </p:txBody>
      </p:sp>
      <p:sp>
        <p:nvSpPr>
          <p:cNvPr id="8" name="Text Placeholder 7">
            <a:extLst>
              <a:ext uri="{FF2B5EF4-FFF2-40B4-BE49-F238E27FC236}">
                <a16:creationId xmlns:a16="http://schemas.microsoft.com/office/drawing/2014/main" id="{74949343-8270-A48B-149D-E4DC2340A7E1}"/>
              </a:ext>
            </a:extLst>
          </p:cNvPr>
          <p:cNvSpPr>
            <a:spLocks noGrp="1"/>
          </p:cNvSpPr>
          <p:nvPr>
            <p:ph type="body" sz="quarter" idx="13"/>
          </p:nvPr>
        </p:nvSpPr>
        <p:spPr/>
        <p:txBody>
          <a:bodyPr/>
          <a:lstStyle/>
          <a:p>
            <a:r>
              <a:rPr lang="en-US"/>
              <a:t>Think:  Who, What, Where, Why, When, How, Describe</a:t>
            </a:r>
          </a:p>
        </p:txBody>
      </p:sp>
      <p:sp>
        <p:nvSpPr>
          <p:cNvPr id="2" name="TextBox 1">
            <a:extLst>
              <a:ext uri="{FF2B5EF4-FFF2-40B4-BE49-F238E27FC236}">
                <a16:creationId xmlns:a16="http://schemas.microsoft.com/office/drawing/2014/main" id="{A67FE938-A08B-43D5-CFA1-17240AFB344B}"/>
              </a:ext>
            </a:extLst>
          </p:cNvPr>
          <p:cNvSpPr txBox="1"/>
          <p:nvPr/>
        </p:nvSpPr>
        <p:spPr>
          <a:xfrm>
            <a:off x="3046" y="6641693"/>
            <a:ext cx="12188169" cy="215444"/>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r>
              <a:rPr kumimoji="0" lang="en-US" sz="1400" b="1" i="0" u="none" strike="noStrike" kern="1200" cap="none" spc="0" normalizeH="0" baseline="0" noProof="0">
                <a:ln>
                  <a:noFill/>
                </a:ln>
                <a:solidFill>
                  <a:srgbClr val="000000"/>
                </a:solidFill>
                <a:effectLst/>
                <a:uLnTx/>
                <a:uFillTx/>
                <a:latin typeface="Arial"/>
                <a:ea typeface="+mn-ea"/>
                <a:cs typeface="Arial"/>
              </a:rPr>
              <a:t>.</a:t>
            </a:r>
          </a:p>
        </p:txBody>
      </p:sp>
    </p:spTree>
    <p:extLst>
      <p:ext uri="{BB962C8B-B14F-4D97-AF65-F5344CB8AC3E}">
        <p14:creationId xmlns:p14="http://schemas.microsoft.com/office/powerpoint/2010/main" val="28904862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94427C-B68C-ED4E-DDC6-CE1020F5ABCB}"/>
              </a:ext>
            </a:extLst>
          </p:cNvPr>
          <p:cNvSpPr>
            <a:spLocks noGrp="1"/>
          </p:cNvSpPr>
          <p:nvPr>
            <p:ph type="title"/>
          </p:nvPr>
        </p:nvSpPr>
        <p:spPr>
          <a:xfrm>
            <a:off x="554736" y="172212"/>
            <a:ext cx="10602418" cy="731520"/>
          </a:xfrm>
        </p:spPr>
        <p:txBody>
          <a:bodyPr wrap="square" anchor="b">
            <a:normAutofit/>
          </a:bodyPr>
          <a:lstStyle/>
          <a:p>
            <a:r>
              <a:rPr lang="en-US"/>
              <a:t>See Something, Say Something	</a:t>
            </a:r>
          </a:p>
        </p:txBody>
      </p:sp>
      <p:pic>
        <p:nvPicPr>
          <p:cNvPr id="5" name="Content Placeholder 4" descr="Law books section in library">
            <a:extLst>
              <a:ext uri="{FF2B5EF4-FFF2-40B4-BE49-F238E27FC236}">
                <a16:creationId xmlns:a16="http://schemas.microsoft.com/office/drawing/2014/main" id="{6EAF7159-2E46-F705-FF2D-5D5F6EE128E6}"/>
              </a:ext>
            </a:extLst>
          </p:cNvPr>
          <p:cNvPicPr>
            <a:picLocks noGrp="1" noChangeAspect="1"/>
          </p:cNvPicPr>
          <p:nvPr>
            <p:ph sz="quarter" idx="11"/>
          </p:nvPr>
        </p:nvPicPr>
        <p:blipFill>
          <a:blip r:embed="rId2">
            <a:extLst>
              <a:ext uri="{28A0092B-C50C-407E-A947-70E740481C1C}">
                <a14:useLocalDpi xmlns:a14="http://schemas.microsoft.com/office/drawing/2010/main" val="0"/>
              </a:ext>
            </a:extLst>
          </a:blip>
          <a:stretch>
            <a:fillRect/>
          </a:stretch>
        </p:blipFill>
        <p:spPr>
          <a:xfrm>
            <a:off x="554038" y="2130216"/>
            <a:ext cx="5438775" cy="3626267"/>
          </a:xfrm>
        </p:spPr>
      </p:pic>
      <p:sp>
        <p:nvSpPr>
          <p:cNvPr id="16" name="Text Placeholder 4">
            <a:extLst>
              <a:ext uri="{FF2B5EF4-FFF2-40B4-BE49-F238E27FC236}">
                <a16:creationId xmlns:a16="http://schemas.microsoft.com/office/drawing/2014/main" id="{4D5503A3-CD40-1776-88E4-FF7199BECB53}"/>
              </a:ext>
            </a:extLst>
          </p:cNvPr>
          <p:cNvSpPr>
            <a:spLocks noGrp="1"/>
          </p:cNvSpPr>
          <p:nvPr>
            <p:ph type="body" sz="quarter" idx="13"/>
          </p:nvPr>
        </p:nvSpPr>
        <p:spPr>
          <a:xfrm>
            <a:off x="554037" y="1101337"/>
            <a:ext cx="11082528" cy="276999"/>
          </a:xfrm>
        </p:spPr>
        <p:txBody>
          <a:bodyPr/>
          <a:lstStyle/>
          <a:p>
            <a:r>
              <a:rPr lang="en-US"/>
              <a:t>Lawyers and media outlets need specific, verified information</a:t>
            </a:r>
          </a:p>
        </p:txBody>
      </p:sp>
      <p:graphicFrame>
        <p:nvGraphicFramePr>
          <p:cNvPr id="10" name="Content Placeholder 1">
            <a:extLst>
              <a:ext uri="{FF2B5EF4-FFF2-40B4-BE49-F238E27FC236}">
                <a16:creationId xmlns:a16="http://schemas.microsoft.com/office/drawing/2014/main" id="{0AFEC0FA-ED72-5BFF-43DB-0CA757A6A0D2}"/>
              </a:ext>
            </a:extLst>
          </p:cNvPr>
          <p:cNvGraphicFramePr>
            <a:graphicFrameLocks noGrp="1"/>
          </p:cNvGraphicFramePr>
          <p:nvPr>
            <p:ph sz="quarter" idx="12"/>
          </p:nvPr>
        </p:nvGraphicFramePr>
        <p:xfrm>
          <a:off x="6198489" y="1514475"/>
          <a:ext cx="5438775" cy="48577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211368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554516F-1CD4-2C89-7996-45095F85040E}"/>
              </a:ext>
            </a:extLst>
          </p:cNvPr>
          <p:cNvSpPr>
            <a:spLocks noGrp="1"/>
          </p:cNvSpPr>
          <p:nvPr>
            <p:ph idx="1"/>
          </p:nvPr>
        </p:nvSpPr>
        <p:spPr>
          <a:xfrm>
            <a:off x="933450" y="1571994"/>
            <a:ext cx="5162550" cy="3959386"/>
          </a:xfrm>
        </p:spPr>
        <p:txBody>
          <a:bodyPr vert="horz" wrap="square" lIns="0" tIns="0" rIns="0" bIns="0" rtlCol="0" anchor="t">
            <a:normAutofit fontScale="92500" lnSpcReduction="20000"/>
          </a:bodyPr>
          <a:lstStyle/>
          <a:p>
            <a:r>
              <a:rPr lang="en-US">
                <a:cs typeface="Arial"/>
              </a:rPr>
              <a:t>Multilingual Infographic for Using Rights Card  </a:t>
            </a:r>
          </a:p>
          <a:p>
            <a:r>
              <a:rPr lang="en-US">
                <a:cs typeface="Arial"/>
              </a:rPr>
              <a:t>Asserting the right to remain silent can be difficult.</a:t>
            </a:r>
          </a:p>
          <a:p>
            <a:r>
              <a:rPr lang="en-US">
                <a:cs typeface="Arial"/>
              </a:rPr>
              <a:t>It is helpful for people to have a rights card in their wallets that they can pull out and give to immigration agents or police. </a:t>
            </a:r>
          </a:p>
          <a:p>
            <a:r>
              <a:rPr lang="en-US" b="1" i="1">
                <a:cs typeface="Arial"/>
              </a:rPr>
              <a:t>The Right to Remain Silent and an Attorney applies to ALL law enforcement encounters</a:t>
            </a:r>
          </a:p>
          <a:p>
            <a:r>
              <a:rPr lang="en-US">
                <a:cs typeface="Arial"/>
                <a:hlinkClick r:id="rId2"/>
              </a:rPr>
              <a:t>https://www.ilrc.org/red-cards</a:t>
            </a:r>
            <a:r>
              <a:rPr lang="en-US">
                <a:cs typeface="Arial"/>
              </a:rPr>
              <a:t> </a:t>
            </a:r>
          </a:p>
          <a:p>
            <a:endParaRPr lang="en-US"/>
          </a:p>
        </p:txBody>
      </p:sp>
      <p:sp>
        <p:nvSpPr>
          <p:cNvPr id="3" name="Title 2">
            <a:extLst>
              <a:ext uri="{FF2B5EF4-FFF2-40B4-BE49-F238E27FC236}">
                <a16:creationId xmlns:a16="http://schemas.microsoft.com/office/drawing/2014/main" id="{E260B220-EBF7-3F62-EBFC-0564F18CAC51}"/>
              </a:ext>
            </a:extLst>
          </p:cNvPr>
          <p:cNvSpPr>
            <a:spLocks noGrp="1"/>
          </p:cNvSpPr>
          <p:nvPr>
            <p:ph type="title"/>
          </p:nvPr>
        </p:nvSpPr>
        <p:spPr/>
        <p:txBody>
          <a:bodyPr wrap="square" anchor="ctr">
            <a:normAutofit/>
          </a:bodyPr>
          <a:lstStyle/>
          <a:p>
            <a:r>
              <a:rPr lang="en-US"/>
              <a:t>Know Your Rights Cards </a:t>
            </a:r>
          </a:p>
        </p:txBody>
      </p:sp>
      <p:pic>
        <p:nvPicPr>
          <p:cNvPr id="4" name="Google Shape;398;p61">
            <a:extLst>
              <a:ext uri="{FF2B5EF4-FFF2-40B4-BE49-F238E27FC236}">
                <a16:creationId xmlns:a16="http://schemas.microsoft.com/office/drawing/2014/main" id="{3CE0C286-F2B6-C524-1EBA-8828657542CB}"/>
              </a:ext>
            </a:extLst>
          </p:cNvPr>
          <p:cNvPicPr preferRelativeResize="0"/>
          <p:nvPr/>
        </p:nvPicPr>
        <p:blipFill rotWithShape="1">
          <a:blip r:embed="rId3"/>
          <a:srcRect l="17189" r="16204"/>
          <a:stretch/>
        </p:blipFill>
        <p:spPr>
          <a:xfrm>
            <a:off x="6191250" y="1293962"/>
            <a:ext cx="5162550" cy="4883001"/>
          </a:xfrm>
          <a:prstGeom prst="rect">
            <a:avLst/>
          </a:prstGeom>
          <a:noFill/>
          <a:ln>
            <a:noFill/>
          </a:ln>
        </p:spPr>
      </p:pic>
      <p:sp>
        <p:nvSpPr>
          <p:cNvPr id="6" name="TextBox 5">
            <a:extLst>
              <a:ext uri="{FF2B5EF4-FFF2-40B4-BE49-F238E27FC236}">
                <a16:creationId xmlns:a16="http://schemas.microsoft.com/office/drawing/2014/main" id="{6A6F6AB4-455A-37AB-B7E4-91DBA269FFAC}"/>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8769687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C34B4-758C-570F-9F30-B0EEC308067C}"/>
              </a:ext>
            </a:extLst>
          </p:cNvPr>
          <p:cNvSpPr>
            <a:spLocks noGrp="1"/>
          </p:cNvSpPr>
          <p:nvPr>
            <p:ph type="title"/>
          </p:nvPr>
        </p:nvSpPr>
        <p:spPr>
          <a:xfrm>
            <a:off x="554736" y="172212"/>
            <a:ext cx="10602418" cy="731520"/>
          </a:xfrm>
        </p:spPr>
        <p:txBody>
          <a:bodyPr wrap="square" anchor="b">
            <a:normAutofit/>
          </a:bodyPr>
          <a:lstStyle/>
          <a:p>
            <a:r>
              <a:rPr lang="en-US"/>
              <a:t>Working With Lawyers</a:t>
            </a:r>
          </a:p>
        </p:txBody>
      </p:sp>
      <p:sp>
        <p:nvSpPr>
          <p:cNvPr id="6" name="Content Placeholder 5">
            <a:extLst>
              <a:ext uri="{FF2B5EF4-FFF2-40B4-BE49-F238E27FC236}">
                <a16:creationId xmlns:a16="http://schemas.microsoft.com/office/drawing/2014/main" id="{759DC419-9454-502A-588F-DEEE68EF9662}"/>
              </a:ext>
            </a:extLst>
          </p:cNvPr>
          <p:cNvSpPr>
            <a:spLocks noGrp="1"/>
          </p:cNvSpPr>
          <p:nvPr>
            <p:ph sz="quarter" idx="12"/>
          </p:nvPr>
        </p:nvSpPr>
        <p:spPr>
          <a:xfrm>
            <a:off x="6198489" y="1514475"/>
            <a:ext cx="5438775" cy="4857750"/>
          </a:xfrm>
        </p:spPr>
        <p:txBody>
          <a:bodyPr wrap="square">
            <a:normAutofit fontScale="92500" lnSpcReduction="10000"/>
          </a:bodyPr>
          <a:lstStyle/>
          <a:p>
            <a:r>
              <a:rPr lang="en-US" sz="2800" b="1"/>
              <a:t>Legal Services Lawyers</a:t>
            </a:r>
          </a:p>
          <a:p>
            <a:pPr lvl="1"/>
            <a:r>
              <a:rPr lang="en-US" sz="2800"/>
              <a:t>Sometimes long waitlists</a:t>
            </a:r>
          </a:p>
          <a:p>
            <a:pPr lvl="1"/>
            <a:r>
              <a:rPr lang="en-US" sz="2800"/>
              <a:t>Often more in-depth representation</a:t>
            </a:r>
          </a:p>
          <a:p>
            <a:pPr lvl="1"/>
            <a:r>
              <a:rPr lang="en-US" sz="2800"/>
              <a:t>Free service</a:t>
            </a:r>
          </a:p>
          <a:p>
            <a:r>
              <a:rPr lang="en-US" sz="2800" i="1"/>
              <a:t>Different models</a:t>
            </a:r>
            <a:r>
              <a:rPr lang="en-US" sz="2800"/>
              <a:t>:</a:t>
            </a:r>
          </a:p>
          <a:p>
            <a:pPr lvl="1"/>
            <a:r>
              <a:rPr lang="en-US" sz="2800"/>
              <a:t>Direct representation</a:t>
            </a:r>
          </a:p>
          <a:p>
            <a:pPr lvl="1"/>
            <a:r>
              <a:rPr lang="en-US" sz="2800"/>
              <a:t>Finding Pro-Bono assistance</a:t>
            </a:r>
          </a:p>
          <a:p>
            <a:r>
              <a:rPr lang="en-US" sz="2800" i="1"/>
              <a:t>Intake</a:t>
            </a:r>
            <a:r>
              <a:rPr lang="en-US" sz="2800"/>
              <a:t> </a:t>
            </a:r>
          </a:p>
          <a:p>
            <a:pPr lvl="1"/>
            <a:r>
              <a:rPr lang="en-US" sz="2800"/>
              <a:t>Does not mean they will take case</a:t>
            </a:r>
          </a:p>
          <a:p>
            <a:r>
              <a:rPr lang="en-US" sz="2800" i="1"/>
              <a:t>Limited detained work</a:t>
            </a:r>
          </a:p>
          <a:p>
            <a:pPr lvl="1"/>
            <a:endParaRPr lang="en-US"/>
          </a:p>
        </p:txBody>
      </p:sp>
      <p:sp>
        <p:nvSpPr>
          <p:cNvPr id="7" name="Text Placeholder 6">
            <a:extLst>
              <a:ext uri="{FF2B5EF4-FFF2-40B4-BE49-F238E27FC236}">
                <a16:creationId xmlns:a16="http://schemas.microsoft.com/office/drawing/2014/main" id="{E8EE1D4B-BA07-BB3D-B28B-1A7F976F3B06}"/>
              </a:ext>
            </a:extLst>
          </p:cNvPr>
          <p:cNvSpPr>
            <a:spLocks noGrp="1"/>
          </p:cNvSpPr>
          <p:nvPr>
            <p:ph type="body" sz="quarter" idx="13"/>
          </p:nvPr>
        </p:nvSpPr>
        <p:spPr>
          <a:xfrm>
            <a:off x="554037" y="1101337"/>
            <a:ext cx="11082528" cy="276999"/>
          </a:xfrm>
        </p:spPr>
        <p:txBody>
          <a:bodyPr wrap="square">
            <a:normAutofit/>
          </a:bodyPr>
          <a:lstStyle/>
          <a:p>
            <a:r>
              <a:rPr lang="en-US"/>
              <a:t>Immigration law is extremely complicated</a:t>
            </a:r>
          </a:p>
        </p:txBody>
      </p:sp>
      <p:graphicFrame>
        <p:nvGraphicFramePr>
          <p:cNvPr id="9" name="Content Placeholder 4">
            <a:extLst>
              <a:ext uri="{FF2B5EF4-FFF2-40B4-BE49-F238E27FC236}">
                <a16:creationId xmlns:a16="http://schemas.microsoft.com/office/drawing/2014/main" id="{DD06C1BB-5F03-C501-5073-2A083CC7EB37}"/>
              </a:ext>
            </a:extLst>
          </p:cNvPr>
          <p:cNvGraphicFramePr>
            <a:graphicFrameLocks noGrp="1"/>
          </p:cNvGraphicFramePr>
          <p:nvPr>
            <p:ph sz="quarter" idx="11"/>
            <p:extLst>
              <p:ext uri="{D42A27DB-BD31-4B8C-83A1-F6EECF244321}">
                <p14:modId xmlns:p14="http://schemas.microsoft.com/office/powerpoint/2010/main" val="3079862817"/>
              </p:ext>
            </p:extLst>
          </p:nvPr>
        </p:nvGraphicFramePr>
        <p:xfrm>
          <a:off x="554735" y="1514475"/>
          <a:ext cx="5438775" cy="4857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683ACE56-D1CE-EE87-16B4-165F0FFE9FEF}"/>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2597289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23"/>
        <p:cNvGrpSpPr/>
        <p:nvPr/>
      </p:nvGrpSpPr>
      <p:grpSpPr>
        <a:xfrm>
          <a:off x="0" y="0"/>
          <a:ext cx="0" cy="0"/>
          <a:chOff x="0" y="0"/>
          <a:chExt cx="0" cy="0"/>
        </a:xfrm>
      </p:grpSpPr>
      <p:sp>
        <p:nvSpPr>
          <p:cNvPr id="325" name="Google Shape;325;p55"/>
          <p:cNvSpPr txBox="1">
            <a:spLocks noGrp="1"/>
          </p:cNvSpPr>
          <p:nvPr>
            <p:ph idx="1"/>
          </p:nvPr>
        </p:nvSpPr>
        <p:spPr>
          <a:prstGeom prst="rect">
            <a:avLst/>
          </a:prstGeom>
          <a:noFill/>
          <a:ln>
            <a:noFill/>
          </a:ln>
        </p:spPr>
        <p:txBody>
          <a:bodyPr spcFirstLastPara="1" vert="horz" wrap="square" lIns="91433" tIns="45700" rIns="91433" bIns="45700" rtlCol="0" anchor="t" anchorCtr="0">
            <a:normAutofit/>
          </a:bodyPr>
          <a:lstStyle/>
          <a:p>
            <a:pPr marL="237061" indent="-67732">
              <a:spcBef>
                <a:spcPts val="0"/>
              </a:spcBef>
              <a:buSzPts val="2000"/>
              <a:buNone/>
            </a:pPr>
            <a:endParaRPr sz="2667"/>
          </a:p>
          <a:p>
            <a:pPr marL="372524" lvl="1" indent="0">
              <a:buSzPts val="1500"/>
              <a:buNone/>
            </a:pPr>
            <a:endParaRPr sz="2000"/>
          </a:p>
          <a:p>
            <a:pPr marL="0" indent="0">
              <a:buNone/>
            </a:pPr>
            <a:endParaRPr/>
          </a:p>
        </p:txBody>
      </p:sp>
      <p:sp>
        <p:nvSpPr>
          <p:cNvPr id="324" name="Google Shape;324;p55"/>
          <p:cNvSpPr txBox="1">
            <a:spLocks noGrp="1"/>
          </p:cNvSpPr>
          <p:nvPr>
            <p:ph type="title"/>
          </p:nvPr>
        </p:nvSpPr>
        <p:spPr>
          <a:prstGeom prst="rect">
            <a:avLst/>
          </a:prstGeom>
          <a:noFill/>
          <a:ln>
            <a:noFill/>
          </a:ln>
        </p:spPr>
        <p:txBody>
          <a:bodyPr spcFirstLastPara="1" vert="horz" wrap="square" lIns="91433" tIns="45700" rIns="91433" bIns="45700" rtlCol="0" anchor="ctr" anchorCtr="0">
            <a:noAutofit/>
          </a:bodyPr>
          <a:lstStyle/>
          <a:p>
            <a:pPr algn="ctr">
              <a:buSzPts val="3000"/>
            </a:pPr>
            <a:r>
              <a:rPr lang="en" sz="3000"/>
              <a:t>Overview of Department of Homeland Security</a:t>
            </a:r>
            <a:endParaRPr sz="3000"/>
          </a:p>
        </p:txBody>
      </p:sp>
      <p:grpSp>
        <p:nvGrpSpPr>
          <p:cNvPr id="326" name="Google Shape;326;p55"/>
          <p:cNvGrpSpPr/>
          <p:nvPr/>
        </p:nvGrpSpPr>
        <p:grpSpPr>
          <a:xfrm>
            <a:off x="2145538" y="1323168"/>
            <a:ext cx="7895173" cy="4857021"/>
            <a:chOff x="0" y="0"/>
            <a:chExt cx="6400800" cy="4622799"/>
          </a:xfrm>
        </p:grpSpPr>
        <p:sp>
          <p:nvSpPr>
            <p:cNvPr id="327" name="Google Shape;327;p55"/>
            <p:cNvSpPr/>
            <p:nvPr/>
          </p:nvSpPr>
          <p:spPr>
            <a:xfrm>
              <a:off x="0" y="0"/>
              <a:ext cx="6400800" cy="2080200"/>
            </a:xfrm>
            <a:prstGeom prst="roundRect">
              <a:avLst>
                <a:gd name="adj" fmla="val 10000"/>
              </a:avLst>
            </a:prstGeom>
            <a:solidFill>
              <a:srgbClr val="CCD3EA">
                <a:alpha val="88240"/>
              </a:srgbClr>
            </a:solidFill>
            <a:ln w="12700" cap="flat" cmpd="sng">
              <a:solidFill>
                <a:srgbClr val="CCD3EA">
                  <a:alpha val="88240"/>
                </a:srgbClr>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28" name="Google Shape;328;p55"/>
            <p:cNvSpPr/>
            <p:nvPr/>
          </p:nvSpPr>
          <p:spPr>
            <a:xfrm>
              <a:off x="192024" y="277368"/>
              <a:ext cx="1880100" cy="1525500"/>
            </a:xfrm>
            <a:prstGeom prst="roundRect">
              <a:avLst>
                <a:gd name="adj" fmla="val 10000"/>
              </a:avLst>
            </a:prstGeom>
            <a:solidFill>
              <a:srgbClr val="BFC8E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29" name="Google Shape;329;p55"/>
            <p:cNvSpPr/>
            <p:nvPr/>
          </p:nvSpPr>
          <p:spPr>
            <a:xfrm rot="10800000">
              <a:off x="192159" y="2080299"/>
              <a:ext cx="1880100" cy="2542500"/>
            </a:xfrm>
            <a:prstGeom prst="round2SameRect">
              <a:avLst>
                <a:gd name="adj1" fmla="val 10500"/>
                <a:gd name="adj2" fmla="val 0"/>
              </a:avLst>
            </a:prstGeom>
            <a:solidFill>
              <a:srgbClr val="4372C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30" name="Google Shape;330;p55"/>
            <p:cNvSpPr txBox="1"/>
            <p:nvPr/>
          </p:nvSpPr>
          <p:spPr>
            <a:xfrm>
              <a:off x="249848" y="2080259"/>
              <a:ext cx="1764600" cy="2484600"/>
            </a:xfrm>
            <a:prstGeom prst="rect">
              <a:avLst/>
            </a:prstGeom>
            <a:noFill/>
            <a:ln>
              <a:noFill/>
            </a:ln>
          </p:spPr>
          <p:txBody>
            <a:bodyPr spcFirstLastPara="1" wrap="square" lIns="120900" tIns="120900" rIns="120900" bIns="120900" anchor="t" anchorCtr="0">
              <a:noAutofit/>
            </a:bodyPr>
            <a:lstStyle/>
            <a:p>
              <a:pPr algn="ctr">
                <a:lnSpc>
                  <a:spcPct val="90000"/>
                </a:lnSpc>
                <a:buClr>
                  <a:schemeClr val="lt1"/>
                </a:buClr>
                <a:buSzPts val="1300"/>
              </a:pPr>
              <a:r>
                <a:rPr lang="en" sz="2000">
                  <a:solidFill>
                    <a:schemeClr val="lt1"/>
                  </a:solidFill>
                  <a:latin typeface="Calibri"/>
                  <a:ea typeface="Calibri"/>
                  <a:cs typeface="Calibri"/>
                  <a:sym typeface="Calibri"/>
                </a:rPr>
                <a:t>Immigration Police / Enforcement, Detention &amp; Deportation, representing the DHS in immigration proceedings</a:t>
              </a:r>
              <a:endParaRPr sz="1733">
                <a:solidFill>
                  <a:srgbClr val="000000"/>
                </a:solidFill>
                <a:latin typeface="Arial"/>
                <a:ea typeface="Arial"/>
                <a:cs typeface="Arial"/>
                <a:sym typeface="Arial"/>
              </a:endParaRPr>
            </a:p>
          </p:txBody>
        </p:sp>
        <p:sp>
          <p:nvSpPr>
            <p:cNvPr id="331" name="Google Shape;331;p55"/>
            <p:cNvSpPr/>
            <p:nvPr/>
          </p:nvSpPr>
          <p:spPr>
            <a:xfrm>
              <a:off x="2260282" y="277368"/>
              <a:ext cx="1880100" cy="1525500"/>
            </a:xfrm>
            <a:prstGeom prst="roundRect">
              <a:avLst>
                <a:gd name="adj" fmla="val 10000"/>
              </a:avLst>
            </a:prstGeom>
            <a:solidFill>
              <a:srgbClr val="BFC8E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32" name="Google Shape;332;p55"/>
            <p:cNvSpPr/>
            <p:nvPr/>
          </p:nvSpPr>
          <p:spPr>
            <a:xfrm rot="10800000">
              <a:off x="2260417" y="2080299"/>
              <a:ext cx="1880100" cy="2542500"/>
            </a:xfrm>
            <a:prstGeom prst="round2SameRect">
              <a:avLst>
                <a:gd name="adj1" fmla="val 10500"/>
                <a:gd name="adj2" fmla="val 0"/>
              </a:avLst>
            </a:prstGeom>
            <a:solidFill>
              <a:srgbClr val="4372C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33" name="Google Shape;333;p55"/>
            <p:cNvSpPr txBox="1"/>
            <p:nvPr/>
          </p:nvSpPr>
          <p:spPr>
            <a:xfrm>
              <a:off x="2318106" y="2080259"/>
              <a:ext cx="1764600" cy="2484600"/>
            </a:xfrm>
            <a:prstGeom prst="rect">
              <a:avLst/>
            </a:prstGeom>
            <a:noFill/>
            <a:ln>
              <a:noFill/>
            </a:ln>
          </p:spPr>
          <p:txBody>
            <a:bodyPr spcFirstLastPara="1" wrap="square" lIns="120900" tIns="120900" rIns="120900" bIns="120900" anchor="t" anchorCtr="0">
              <a:noAutofit/>
            </a:bodyPr>
            <a:lstStyle/>
            <a:p>
              <a:pPr algn="ctr">
                <a:lnSpc>
                  <a:spcPct val="90000"/>
                </a:lnSpc>
                <a:buClr>
                  <a:schemeClr val="lt1"/>
                </a:buClr>
                <a:buSzPts val="1300"/>
              </a:pPr>
              <a:r>
                <a:rPr lang="en" sz="2000">
                  <a:solidFill>
                    <a:schemeClr val="lt1"/>
                  </a:solidFill>
                  <a:latin typeface="Calibri"/>
                  <a:ea typeface="Calibri"/>
                  <a:cs typeface="Calibri"/>
                  <a:sym typeface="Calibri"/>
                </a:rPr>
                <a:t>Enforcement at the border and within 100 miles of the border, checkpoints, and ports of entries</a:t>
              </a:r>
              <a:endParaRPr sz="1733">
                <a:solidFill>
                  <a:srgbClr val="000000"/>
                </a:solidFill>
                <a:latin typeface="Arial"/>
                <a:ea typeface="Arial"/>
                <a:cs typeface="Arial"/>
                <a:sym typeface="Arial"/>
              </a:endParaRPr>
            </a:p>
          </p:txBody>
        </p:sp>
        <p:sp>
          <p:nvSpPr>
            <p:cNvPr id="334" name="Google Shape;334;p55"/>
            <p:cNvSpPr/>
            <p:nvPr/>
          </p:nvSpPr>
          <p:spPr>
            <a:xfrm>
              <a:off x="4328541" y="277368"/>
              <a:ext cx="1880100" cy="1525500"/>
            </a:xfrm>
            <a:prstGeom prst="roundRect">
              <a:avLst>
                <a:gd name="adj" fmla="val 10000"/>
              </a:avLst>
            </a:prstGeom>
            <a:solidFill>
              <a:srgbClr val="BFC8E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35" name="Google Shape;335;p55"/>
            <p:cNvSpPr/>
            <p:nvPr/>
          </p:nvSpPr>
          <p:spPr>
            <a:xfrm rot="10800000">
              <a:off x="4328676" y="2080299"/>
              <a:ext cx="1880100" cy="2542500"/>
            </a:xfrm>
            <a:prstGeom prst="round2SameRect">
              <a:avLst>
                <a:gd name="adj1" fmla="val 10500"/>
                <a:gd name="adj2" fmla="val 0"/>
              </a:avLst>
            </a:prstGeom>
            <a:solidFill>
              <a:srgbClr val="4372C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36" name="Google Shape;336;p55"/>
            <p:cNvSpPr txBox="1"/>
            <p:nvPr/>
          </p:nvSpPr>
          <p:spPr>
            <a:xfrm>
              <a:off x="4386365" y="2080259"/>
              <a:ext cx="1764600" cy="2484600"/>
            </a:xfrm>
            <a:prstGeom prst="rect">
              <a:avLst/>
            </a:prstGeom>
            <a:noFill/>
            <a:ln>
              <a:noFill/>
            </a:ln>
          </p:spPr>
          <p:txBody>
            <a:bodyPr spcFirstLastPara="1" wrap="square" lIns="120900" tIns="120900" rIns="120900" bIns="120900" anchor="t" anchorCtr="0">
              <a:noAutofit/>
            </a:bodyPr>
            <a:lstStyle/>
            <a:p>
              <a:pPr algn="ctr">
                <a:lnSpc>
                  <a:spcPct val="90000"/>
                </a:lnSpc>
                <a:buClr>
                  <a:schemeClr val="lt1"/>
                </a:buClr>
                <a:buSzPts val="1300"/>
              </a:pPr>
              <a:r>
                <a:rPr lang="en" sz="2000">
                  <a:solidFill>
                    <a:schemeClr val="lt1"/>
                  </a:solidFill>
                  <a:latin typeface="Calibri"/>
                  <a:ea typeface="Calibri"/>
                  <a:cs typeface="Calibri"/>
                  <a:sym typeface="Calibri"/>
                </a:rPr>
                <a:t>Adjudicates petitions for immigration benefits (asylum, green cards, citizenship, special visas)</a:t>
              </a:r>
              <a:endParaRPr sz="1733">
                <a:solidFill>
                  <a:srgbClr val="000000"/>
                </a:solidFill>
                <a:latin typeface="Arial"/>
                <a:ea typeface="Arial"/>
                <a:cs typeface="Arial"/>
                <a:sym typeface="Arial"/>
              </a:endParaRPr>
            </a:p>
          </p:txBody>
        </p:sp>
      </p:grpSp>
      <p:sp>
        <p:nvSpPr>
          <p:cNvPr id="337" name="Google Shape;337;p55"/>
          <p:cNvSpPr txBox="1"/>
          <p:nvPr/>
        </p:nvSpPr>
        <p:spPr>
          <a:xfrm>
            <a:off x="2650886" y="1952047"/>
            <a:ext cx="1773200" cy="985092"/>
          </a:xfrm>
          <a:prstGeom prst="rect">
            <a:avLst/>
          </a:prstGeom>
          <a:noFill/>
          <a:ln>
            <a:noFill/>
          </a:ln>
        </p:spPr>
        <p:txBody>
          <a:bodyPr spcFirstLastPara="1" wrap="square" lIns="121900" tIns="60967" rIns="121900" bIns="60967" anchor="t" anchorCtr="0">
            <a:spAutoFit/>
          </a:bodyPr>
          <a:lstStyle/>
          <a:p>
            <a:pPr algn="ctr">
              <a:buClr>
                <a:srgbClr val="000000"/>
              </a:buClr>
              <a:buSzPts val="1400"/>
            </a:pPr>
            <a:r>
              <a:rPr lang="en" sz="1867" b="1">
                <a:solidFill>
                  <a:schemeClr val="dk1"/>
                </a:solidFill>
                <a:latin typeface="Calibri"/>
                <a:ea typeface="Calibri"/>
                <a:cs typeface="Calibri"/>
                <a:sym typeface="Calibri"/>
              </a:rPr>
              <a:t>Immigration &amp; Customs Enforcement</a:t>
            </a:r>
            <a:endParaRPr sz="1467">
              <a:solidFill>
                <a:srgbClr val="000000"/>
              </a:solidFill>
              <a:latin typeface="Arial"/>
              <a:ea typeface="Arial"/>
              <a:cs typeface="Arial"/>
              <a:sym typeface="Arial"/>
            </a:endParaRPr>
          </a:p>
        </p:txBody>
      </p:sp>
      <p:sp>
        <p:nvSpPr>
          <p:cNvPr id="338" name="Google Shape;338;p55"/>
          <p:cNvSpPr txBox="1"/>
          <p:nvPr/>
        </p:nvSpPr>
        <p:spPr>
          <a:xfrm>
            <a:off x="5338586" y="1952055"/>
            <a:ext cx="1509200" cy="985092"/>
          </a:xfrm>
          <a:prstGeom prst="rect">
            <a:avLst/>
          </a:prstGeom>
          <a:noFill/>
          <a:ln>
            <a:noFill/>
          </a:ln>
        </p:spPr>
        <p:txBody>
          <a:bodyPr spcFirstLastPara="1" wrap="square" lIns="121900" tIns="60967" rIns="121900" bIns="60967" anchor="t" anchorCtr="0">
            <a:spAutoFit/>
          </a:bodyPr>
          <a:lstStyle/>
          <a:p>
            <a:pPr algn="ctr">
              <a:buClr>
                <a:srgbClr val="000000"/>
              </a:buClr>
              <a:buSzPts val="1400"/>
            </a:pPr>
            <a:r>
              <a:rPr lang="en" sz="1867" b="1">
                <a:solidFill>
                  <a:schemeClr val="dk1"/>
                </a:solidFill>
                <a:latin typeface="Calibri"/>
                <a:ea typeface="Calibri"/>
                <a:cs typeface="Calibri"/>
                <a:sym typeface="Calibri"/>
              </a:rPr>
              <a:t>Customs &amp; Border Protection</a:t>
            </a:r>
            <a:endParaRPr sz="1467">
              <a:solidFill>
                <a:srgbClr val="000000"/>
              </a:solidFill>
              <a:latin typeface="Arial"/>
              <a:ea typeface="Arial"/>
              <a:cs typeface="Arial"/>
              <a:sym typeface="Arial"/>
            </a:endParaRPr>
          </a:p>
        </p:txBody>
      </p:sp>
      <p:sp>
        <p:nvSpPr>
          <p:cNvPr id="339" name="Google Shape;339;p55"/>
          <p:cNvSpPr txBox="1"/>
          <p:nvPr/>
        </p:nvSpPr>
        <p:spPr>
          <a:xfrm>
            <a:off x="7610935" y="1952047"/>
            <a:ext cx="2004800" cy="985092"/>
          </a:xfrm>
          <a:prstGeom prst="rect">
            <a:avLst/>
          </a:prstGeom>
          <a:noFill/>
          <a:ln>
            <a:noFill/>
          </a:ln>
        </p:spPr>
        <p:txBody>
          <a:bodyPr spcFirstLastPara="1" wrap="square" lIns="121900" tIns="60967" rIns="121900" bIns="60967" anchor="t" anchorCtr="0">
            <a:spAutoFit/>
          </a:bodyPr>
          <a:lstStyle/>
          <a:p>
            <a:pPr algn="ctr">
              <a:buClr>
                <a:srgbClr val="000000"/>
              </a:buClr>
              <a:buSzPts val="1400"/>
            </a:pPr>
            <a:r>
              <a:rPr lang="en" sz="1867" b="1">
                <a:solidFill>
                  <a:schemeClr val="dk1"/>
                </a:solidFill>
                <a:latin typeface="Calibri"/>
                <a:ea typeface="Calibri"/>
                <a:cs typeface="Calibri"/>
                <a:sym typeface="Calibri"/>
              </a:rPr>
              <a:t>U.S. Citizenship &amp; Immigration Services</a:t>
            </a:r>
            <a:endParaRPr sz="1467">
              <a:solidFill>
                <a:srgbClr val="000000"/>
              </a:solidFill>
              <a:latin typeface="Arial"/>
              <a:ea typeface="Arial"/>
              <a:cs typeface="Arial"/>
              <a:sym typeface="Arial"/>
            </a:endParaRPr>
          </a:p>
        </p:txBody>
      </p:sp>
      <p:sp>
        <p:nvSpPr>
          <p:cNvPr id="2" name="TextBox 1">
            <a:extLst>
              <a:ext uri="{FF2B5EF4-FFF2-40B4-BE49-F238E27FC236}">
                <a16:creationId xmlns:a16="http://schemas.microsoft.com/office/drawing/2014/main" id="{A0B7C3E1-BFF3-BB5B-E70F-48D9BE6AFDD8}"/>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A5753-CE97-FF49-1857-D622C64B580C}"/>
              </a:ext>
            </a:extLst>
          </p:cNvPr>
          <p:cNvSpPr>
            <a:spLocks noGrp="1"/>
          </p:cNvSpPr>
          <p:nvPr>
            <p:ph type="title"/>
          </p:nvPr>
        </p:nvSpPr>
        <p:spPr>
          <a:xfrm>
            <a:off x="561109" y="503670"/>
            <a:ext cx="11081327" cy="1013836"/>
          </a:xfrm>
        </p:spPr>
        <p:txBody>
          <a:bodyPr>
            <a:normAutofit/>
          </a:bodyPr>
          <a:lstStyle/>
          <a:p>
            <a:r>
              <a:rPr lang="en-US" sz="3500"/>
              <a:t>Legal Representation Fund (LRF)</a:t>
            </a:r>
            <a:endParaRPr lang="en-US"/>
          </a:p>
        </p:txBody>
      </p:sp>
      <p:pic>
        <p:nvPicPr>
          <p:cNvPr id="8" name="Content Placeholder 7" descr="Boston Immigration Justice Accompaniment Network (BIJAN) | Greg Motz ...">
            <a:extLst>
              <a:ext uri="{FF2B5EF4-FFF2-40B4-BE49-F238E27FC236}">
                <a16:creationId xmlns:a16="http://schemas.microsoft.com/office/drawing/2014/main" id="{8B089055-9E4A-AA35-1E9A-2525FA4C8EB6}"/>
              </a:ext>
            </a:extLst>
          </p:cNvPr>
          <p:cNvPicPr>
            <a:picLocks noGrp="1" noChangeAspect="1"/>
          </p:cNvPicPr>
          <p:nvPr>
            <p:ph idx="1"/>
          </p:nvPr>
        </p:nvPicPr>
        <p:blipFill>
          <a:blip r:embed="rId2"/>
          <a:stretch>
            <a:fillRect/>
          </a:stretch>
        </p:blipFill>
        <p:spPr>
          <a:xfrm>
            <a:off x="9295099" y="96332"/>
            <a:ext cx="2466544" cy="2429743"/>
          </a:xfrm>
        </p:spPr>
      </p:pic>
      <p:pic>
        <p:nvPicPr>
          <p:cNvPr id="10" name="Picture 9">
            <a:extLst>
              <a:ext uri="{FF2B5EF4-FFF2-40B4-BE49-F238E27FC236}">
                <a16:creationId xmlns:a16="http://schemas.microsoft.com/office/drawing/2014/main" id="{03E53600-E60B-8BA0-4434-783C72CEB995}"/>
              </a:ext>
            </a:extLst>
          </p:cNvPr>
          <p:cNvPicPr>
            <a:picLocks noChangeAspect="1"/>
          </p:cNvPicPr>
          <p:nvPr/>
        </p:nvPicPr>
        <p:blipFill>
          <a:blip r:embed="rId3"/>
          <a:stretch>
            <a:fillRect/>
          </a:stretch>
        </p:blipFill>
        <p:spPr>
          <a:xfrm>
            <a:off x="7742569" y="3648002"/>
            <a:ext cx="4246405" cy="2828998"/>
          </a:xfrm>
          <a:prstGeom prst="rect">
            <a:avLst/>
          </a:prstGeom>
        </p:spPr>
      </p:pic>
      <p:sp>
        <p:nvSpPr>
          <p:cNvPr id="11" name="TextBox 10">
            <a:extLst>
              <a:ext uri="{FF2B5EF4-FFF2-40B4-BE49-F238E27FC236}">
                <a16:creationId xmlns:a16="http://schemas.microsoft.com/office/drawing/2014/main" id="{99FE9109-1ABF-17BE-750F-C7AEA061D1BD}"/>
              </a:ext>
            </a:extLst>
          </p:cNvPr>
          <p:cNvSpPr txBox="1"/>
          <p:nvPr/>
        </p:nvSpPr>
        <p:spPr>
          <a:xfrm>
            <a:off x="7841888" y="2885279"/>
            <a:ext cx="3497190"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Aptos Display"/>
                <a:ea typeface="+mn-ea"/>
                <a:cs typeface="+mn-cs"/>
              </a:rPr>
              <a:t>LRF Intake Process</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8EF887F9-8089-054F-0B98-1E812EF4023A}"/>
              </a:ext>
            </a:extLst>
          </p:cNvPr>
          <p:cNvSpPr txBox="1"/>
          <p:nvPr/>
        </p:nvSpPr>
        <p:spPr>
          <a:xfrm>
            <a:off x="738910" y="4464241"/>
            <a:ext cx="6188360"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ptos" panose="02110004020202020204"/>
                <a:ea typeface="+mn-ea"/>
                <a:cs typeface="+mn-cs"/>
              </a:rPr>
              <a:t>Phone Numbers to Call: </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400" b="1" i="0" u="none" strike="noStrike" kern="1200" cap="none" spc="0" normalizeH="0" baseline="0" noProof="0">
                <a:ln>
                  <a:noFill/>
                </a:ln>
                <a:solidFill>
                  <a:prstClr val="black"/>
                </a:solidFill>
                <a:effectLst/>
                <a:uLnTx/>
                <a:uFillTx/>
                <a:latin typeface="Aptos" panose="02110004020202020204"/>
                <a:ea typeface="+mn-ea"/>
                <a:cs typeface="+mn-cs"/>
              </a:rPr>
              <a:t>Detained Hotline: (617)637-8195</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400" b="1" i="0" u="none" strike="noStrike" kern="1200" cap="none" spc="0" normalizeH="0" baseline="0" noProof="0">
                <a:ln>
                  <a:noFill/>
                </a:ln>
                <a:solidFill>
                  <a:prstClr val="black"/>
                </a:solidFill>
                <a:effectLst/>
                <a:uLnTx/>
                <a:uFillTx/>
                <a:latin typeface="Aptos" panose="02110004020202020204"/>
                <a:ea typeface="+mn-ea"/>
                <a:cs typeface="+mn-cs"/>
              </a:rPr>
              <a:t>Family &amp; Friends Hotline: (617)396-7143</a:t>
            </a:r>
          </a:p>
        </p:txBody>
      </p:sp>
      <p:graphicFrame>
        <p:nvGraphicFramePr>
          <p:cNvPr id="14" name="TextBox 8">
            <a:extLst>
              <a:ext uri="{FF2B5EF4-FFF2-40B4-BE49-F238E27FC236}">
                <a16:creationId xmlns:a16="http://schemas.microsoft.com/office/drawing/2014/main" id="{9FBBB8A2-3696-A357-9B65-453E64238291}"/>
              </a:ext>
            </a:extLst>
          </p:cNvPr>
          <p:cNvGraphicFramePr/>
          <p:nvPr>
            <p:extLst>
              <p:ext uri="{D42A27DB-BD31-4B8C-83A1-F6EECF244321}">
                <p14:modId xmlns:p14="http://schemas.microsoft.com/office/powerpoint/2010/main" val="2328599095"/>
              </p:ext>
            </p:extLst>
          </p:nvPr>
        </p:nvGraphicFramePr>
        <p:xfrm>
          <a:off x="441902" y="1193430"/>
          <a:ext cx="6831733" cy="313932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extBox 6">
            <a:extLst>
              <a:ext uri="{FF2B5EF4-FFF2-40B4-BE49-F238E27FC236}">
                <a16:creationId xmlns:a16="http://schemas.microsoft.com/office/drawing/2014/main" id="{1229382B-8E29-65E4-18CE-72586735915E}"/>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41707093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8CF5C-C3EE-AF4A-07D3-1D4AF4DF7BE6}"/>
              </a:ext>
            </a:extLst>
          </p:cNvPr>
          <p:cNvSpPr>
            <a:spLocks noGrp="1"/>
          </p:cNvSpPr>
          <p:nvPr>
            <p:ph type="title"/>
          </p:nvPr>
        </p:nvSpPr>
        <p:spPr>
          <a:xfrm>
            <a:off x="793662" y="386930"/>
            <a:ext cx="10066122" cy="1298448"/>
          </a:xfrm>
        </p:spPr>
        <p:txBody>
          <a:bodyPr anchor="b">
            <a:normAutofit/>
          </a:bodyPr>
          <a:lstStyle/>
          <a:p>
            <a:r>
              <a:rPr lang="en-US" sz="4800">
                <a:solidFill>
                  <a:schemeClr val="tx1"/>
                </a:solidFill>
              </a:rPr>
              <a:t>Habeas Background </a:t>
            </a:r>
          </a:p>
        </p:txBody>
      </p:sp>
      <p:sp>
        <p:nvSpPr>
          <p:cNvPr id="3" name="Content Placeholder 2">
            <a:extLst>
              <a:ext uri="{FF2B5EF4-FFF2-40B4-BE49-F238E27FC236}">
                <a16:creationId xmlns:a16="http://schemas.microsoft.com/office/drawing/2014/main" id="{E3871588-7B1E-FD9D-A837-EE378E01D81F}"/>
              </a:ext>
            </a:extLst>
          </p:cNvPr>
          <p:cNvSpPr>
            <a:spLocks noGrp="1"/>
          </p:cNvSpPr>
          <p:nvPr>
            <p:ph idx="1"/>
          </p:nvPr>
        </p:nvSpPr>
        <p:spPr>
          <a:xfrm>
            <a:off x="444950" y="1818862"/>
            <a:ext cx="6184049" cy="4381352"/>
          </a:xfrm>
        </p:spPr>
        <p:txBody>
          <a:bodyPr vert="horz" lIns="91440" tIns="45720" rIns="91440" bIns="45720" rtlCol="0" anchor="ctr">
            <a:noAutofit/>
          </a:bodyPr>
          <a:lstStyle/>
          <a:p>
            <a:r>
              <a:rPr lang="en-US" sz="2400"/>
              <a:t>Habeas is filed in Federal Court</a:t>
            </a:r>
          </a:p>
          <a:p>
            <a:r>
              <a:rPr lang="en-US" sz="2400"/>
              <a:t>Venue &amp; Jurisdiction required</a:t>
            </a:r>
          </a:p>
          <a:p>
            <a:r>
              <a:rPr lang="en-US" sz="2400"/>
              <a:t>Individuals concerned about status should (a) consult with an immigration lawyer now, and (b) if pursuing legal representation, have a signed G28 on file with a lawyer </a:t>
            </a:r>
          </a:p>
          <a:p>
            <a:r>
              <a:rPr lang="en-US" sz="2400"/>
              <a:t>Mass Specific 48 hour hold rule</a:t>
            </a:r>
          </a:p>
          <a:p>
            <a:pPr lvl="1"/>
            <a:r>
              <a:rPr lang="en-US"/>
              <a:t>Should prevent removal “from jurisdiction” for 48 hours</a:t>
            </a:r>
          </a:p>
          <a:p>
            <a:pPr marL="457200" lvl="1" indent="0">
              <a:buNone/>
            </a:pPr>
            <a:endParaRPr lang="en-US" sz="1600"/>
          </a:p>
          <a:p>
            <a:pPr lvl="1"/>
            <a:endParaRPr lang="en-US" sz="1600"/>
          </a:p>
        </p:txBody>
      </p:sp>
      <p:pic>
        <p:nvPicPr>
          <p:cNvPr id="7" name="Graphic 6" descr="Judge">
            <a:extLst>
              <a:ext uri="{FF2B5EF4-FFF2-40B4-BE49-F238E27FC236}">
                <a16:creationId xmlns:a16="http://schemas.microsoft.com/office/drawing/2014/main" id="{3448D510-E7AE-1084-86D8-EA70355FA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9548" y="2484255"/>
            <a:ext cx="3714244" cy="3714244"/>
          </a:xfrm>
          <a:prstGeom prst="rect">
            <a:avLst/>
          </a:prstGeom>
        </p:spPr>
      </p:pic>
      <p:sp>
        <p:nvSpPr>
          <p:cNvPr id="6" name="TextBox 5">
            <a:extLst>
              <a:ext uri="{FF2B5EF4-FFF2-40B4-BE49-F238E27FC236}">
                <a16:creationId xmlns:a16="http://schemas.microsoft.com/office/drawing/2014/main" id="{8B612118-5390-5D60-AACF-E586F9398B45}"/>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3478059120"/>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8A8E00-01A6-9F31-0AF7-04582F09105A}"/>
              </a:ext>
            </a:extLst>
          </p:cNvPr>
          <p:cNvSpPr>
            <a:spLocks noGrp="1"/>
          </p:cNvSpPr>
          <p:nvPr>
            <p:ph type="title"/>
          </p:nvPr>
        </p:nvSpPr>
        <p:spPr>
          <a:xfrm>
            <a:off x="139700" y="166487"/>
            <a:ext cx="10515600" cy="650875"/>
          </a:xfrm>
        </p:spPr>
        <p:txBody>
          <a:bodyPr wrap="square" anchor="ctr">
            <a:normAutofit fontScale="90000"/>
          </a:bodyPr>
          <a:lstStyle/>
          <a:p>
            <a:pPr algn="ctr"/>
            <a:r>
              <a:rPr lang="en-US"/>
              <a:t>Habeas Project: </a:t>
            </a:r>
            <a:br>
              <a:rPr lang="en-US"/>
            </a:br>
            <a:r>
              <a:rPr lang="en-US"/>
              <a:t>immigrationhabeasproject@gmail.com</a:t>
            </a:r>
          </a:p>
        </p:txBody>
      </p:sp>
      <p:grpSp>
        <p:nvGrpSpPr>
          <p:cNvPr id="4" name="Group 3">
            <a:extLst>
              <a:ext uri="{FF2B5EF4-FFF2-40B4-BE49-F238E27FC236}">
                <a16:creationId xmlns:a16="http://schemas.microsoft.com/office/drawing/2014/main" id="{A6F7A4FC-2596-C57E-053A-FD978861A937}"/>
              </a:ext>
            </a:extLst>
          </p:cNvPr>
          <p:cNvGrpSpPr/>
          <p:nvPr/>
        </p:nvGrpSpPr>
        <p:grpSpPr>
          <a:xfrm>
            <a:off x="838200" y="1752599"/>
            <a:ext cx="10518549" cy="4629151"/>
            <a:chOff x="838200" y="1294825"/>
            <a:chExt cx="10518549" cy="4870408"/>
          </a:xfrm>
        </p:grpSpPr>
        <p:sp>
          <p:nvSpPr>
            <p:cNvPr id="6" name="Freeform: Shape 5">
              <a:extLst>
                <a:ext uri="{FF2B5EF4-FFF2-40B4-BE49-F238E27FC236}">
                  <a16:creationId xmlns:a16="http://schemas.microsoft.com/office/drawing/2014/main" id="{2BC69ECE-C1DF-CA08-6618-D27AF92BBB6E}"/>
                </a:ext>
              </a:extLst>
            </p:cNvPr>
            <p:cNvSpPr/>
            <p:nvPr/>
          </p:nvSpPr>
          <p:spPr>
            <a:xfrm>
              <a:off x="838200" y="4067752"/>
              <a:ext cx="2628900" cy="2097481"/>
            </a:xfrm>
            <a:custGeom>
              <a:avLst/>
              <a:gdLst>
                <a:gd name="connsiteX0" fmla="*/ 0 w 2628900"/>
                <a:gd name="connsiteY0" fmla="*/ 0 h 1206444"/>
                <a:gd name="connsiteX1" fmla="*/ 2628900 w 2628900"/>
                <a:gd name="connsiteY1" fmla="*/ 0 h 1206444"/>
                <a:gd name="connsiteX2" fmla="*/ 2628900 w 2628900"/>
                <a:gd name="connsiteY2" fmla="*/ 1206444 h 1206444"/>
                <a:gd name="connsiteX3" fmla="*/ 0 w 2628900"/>
                <a:gd name="connsiteY3" fmla="*/ 1206444 h 1206444"/>
                <a:gd name="connsiteX4" fmla="*/ 0 w 2628900"/>
                <a:gd name="connsiteY4" fmla="*/ 0 h 120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900" h="1206444">
                  <a:moveTo>
                    <a:pt x="0" y="0"/>
                  </a:moveTo>
                  <a:lnTo>
                    <a:pt x="2628900" y="0"/>
                  </a:lnTo>
                  <a:lnTo>
                    <a:pt x="2628900" y="1206444"/>
                  </a:lnTo>
                  <a:lnTo>
                    <a:pt x="0" y="1206444"/>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967" tIns="106680" rIns="186967" bIns="10668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a:ea typeface="+mn-ea"/>
                  <a:cs typeface="+mn-cs"/>
                </a:rPr>
                <a:t>Emergency Habeas Filing screening:</a:t>
              </a:r>
            </a:p>
          </p:txBody>
        </p:sp>
        <p:sp>
          <p:nvSpPr>
            <p:cNvPr id="7" name="Freeform: Shape 6">
              <a:extLst>
                <a:ext uri="{FF2B5EF4-FFF2-40B4-BE49-F238E27FC236}">
                  <a16:creationId xmlns:a16="http://schemas.microsoft.com/office/drawing/2014/main" id="{F073E926-A040-08AE-E019-80A73A5C55CB}"/>
                </a:ext>
              </a:extLst>
            </p:cNvPr>
            <p:cNvSpPr/>
            <p:nvPr/>
          </p:nvSpPr>
          <p:spPr>
            <a:xfrm>
              <a:off x="3470049" y="4067753"/>
              <a:ext cx="7886700" cy="2097141"/>
            </a:xfrm>
            <a:custGeom>
              <a:avLst/>
              <a:gdLst>
                <a:gd name="connsiteX0" fmla="*/ 0 w 7886700"/>
                <a:gd name="connsiteY0" fmla="*/ 0 h 1206444"/>
                <a:gd name="connsiteX1" fmla="*/ 7886700 w 7886700"/>
                <a:gd name="connsiteY1" fmla="*/ 0 h 1206444"/>
                <a:gd name="connsiteX2" fmla="*/ 7886700 w 7886700"/>
                <a:gd name="connsiteY2" fmla="*/ 1206444 h 1206444"/>
                <a:gd name="connsiteX3" fmla="*/ 0 w 7886700"/>
                <a:gd name="connsiteY3" fmla="*/ 1206444 h 1206444"/>
                <a:gd name="connsiteX4" fmla="*/ 0 w 7886700"/>
                <a:gd name="connsiteY4" fmla="*/ 0 h 120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700" h="1206444">
                  <a:moveTo>
                    <a:pt x="0" y="0"/>
                  </a:moveTo>
                  <a:lnTo>
                    <a:pt x="7886700" y="0"/>
                  </a:lnTo>
                  <a:lnTo>
                    <a:pt x="7886700" y="1206444"/>
                  </a:lnTo>
                  <a:lnTo>
                    <a:pt x="0" y="1206444"/>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59980" tIns="139700" rIns="159980" bIns="139700" numCol="1" spcCol="1270" anchor="ctr" anchorCtr="0">
              <a:noAutofit/>
            </a:bodyPr>
            <a:lstStyle/>
            <a:p>
              <a:pPr marL="457200" marR="0" lvl="1" indent="0" algn="l" defTabSz="488950" rtl="0" eaLnBrk="1" fontAlgn="auto" latinLnBrk="0" hangingPunct="1">
                <a:lnSpc>
                  <a:spcPct val="90000"/>
                </a:lnSpc>
                <a:spcBef>
                  <a:spcPct val="0"/>
                </a:spcBef>
                <a:spcAft>
                  <a:spcPct val="35000"/>
                </a:spcAft>
                <a:buClrTx/>
                <a:buSzTx/>
                <a:buFontTx/>
                <a:buNone/>
                <a:tabLst/>
                <a:defRPr/>
              </a:pPr>
              <a:r>
                <a:rPr kumimoji="0" lang="en-US" sz="15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Lawful Permanent Resident at Airport</a:t>
              </a:r>
            </a:p>
            <a:p>
              <a:pPr marL="457200" marR="0" lvl="1" indent="0" algn="l" defTabSz="488950" rtl="0" eaLnBrk="1" fontAlgn="auto" latinLnBrk="0" hangingPunct="1">
                <a:lnSpc>
                  <a:spcPct val="90000"/>
                </a:lnSpc>
                <a:spcBef>
                  <a:spcPct val="0"/>
                </a:spcBef>
                <a:spcAft>
                  <a:spcPct val="35000"/>
                </a:spcAft>
                <a:buClrTx/>
                <a:buSzTx/>
                <a:buFontTx/>
                <a:buNone/>
                <a:tabLst/>
                <a:defRPr/>
              </a:pPr>
              <a:r>
                <a:rPr kumimoji="0" lang="en-US" sz="15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Arial"/>
                </a:rPr>
                <a:t>Arrests in Immigration Courthouse</a:t>
              </a:r>
              <a:endParaRPr kumimoji="0" lang="en-US" sz="15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a:p>
              <a:pPr marL="457200" marR="0" lvl="1" indent="0" algn="l" defTabSz="488950" rtl="0" eaLnBrk="1" fontAlgn="auto" latinLnBrk="0" hangingPunct="1">
                <a:lnSpc>
                  <a:spcPct val="90000"/>
                </a:lnSpc>
                <a:spcBef>
                  <a:spcPct val="0"/>
                </a:spcBef>
                <a:spcAft>
                  <a:spcPct val="35000"/>
                </a:spcAft>
                <a:buClrTx/>
                <a:buSzTx/>
                <a:buFontTx/>
                <a:buNone/>
                <a:tabLst/>
                <a:defRPr/>
              </a:pPr>
              <a:r>
                <a:rPr kumimoji="0" lang="en-US" sz="15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Student Visa revocation in violation of constitutional rights </a:t>
              </a:r>
              <a:endParaRPr kumimoji="0" lang="en-US" sz="15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Arial"/>
              </a:endParaRPr>
            </a:p>
            <a:p>
              <a:pPr marL="457200" marR="0" lvl="1" indent="0" algn="l" defTabSz="488950" rtl="0" eaLnBrk="1" fontAlgn="auto" latinLnBrk="0" hangingPunct="1">
                <a:lnSpc>
                  <a:spcPct val="90000"/>
                </a:lnSpc>
                <a:spcBef>
                  <a:spcPct val="0"/>
                </a:spcBef>
                <a:spcAft>
                  <a:spcPct val="35000"/>
                </a:spcAft>
                <a:buClrTx/>
                <a:buSzTx/>
                <a:buFontTx/>
                <a:buNone/>
                <a:tabLst/>
                <a:defRPr/>
              </a:pPr>
              <a:r>
                <a:rPr kumimoji="0" lang="en-US" sz="15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An individual subject to expedited removal </a:t>
              </a:r>
              <a:endParaRPr kumimoji="0" lang="en-US" sz="15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Arial"/>
              </a:endParaRPr>
            </a:p>
            <a:p>
              <a:pPr marL="457200" marR="0" lvl="1" indent="0" algn="l" defTabSz="488950" rtl="0" eaLnBrk="1" fontAlgn="auto" latinLnBrk="0" hangingPunct="1">
                <a:lnSpc>
                  <a:spcPct val="90000"/>
                </a:lnSpc>
                <a:spcBef>
                  <a:spcPct val="0"/>
                </a:spcBef>
                <a:spcAft>
                  <a:spcPct val="35000"/>
                </a:spcAft>
                <a:buClrTx/>
                <a:buSzTx/>
                <a:buFontTx/>
                <a:buNone/>
                <a:tabLst/>
                <a:defRPr/>
              </a:pPr>
              <a:r>
                <a:rPr kumimoji="0" lang="en-US" sz="15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An individual who has humanitarian factors negating against transfer</a:t>
              </a:r>
            </a:p>
            <a:p>
              <a:pPr marL="457200" marR="0" lvl="1" indent="0" algn="l" defTabSz="488950" rtl="0" eaLnBrk="1" fontAlgn="auto" latinLnBrk="0" hangingPunct="1">
                <a:lnSpc>
                  <a:spcPct val="90000"/>
                </a:lnSpc>
                <a:spcBef>
                  <a:spcPct val="0"/>
                </a:spcBef>
                <a:spcAft>
                  <a:spcPct val="35000"/>
                </a:spcAft>
                <a:buClrTx/>
                <a:buSzTx/>
                <a:buFontTx/>
                <a:buNone/>
                <a:tabLst/>
                <a:defRPr/>
              </a:pPr>
              <a:r>
                <a:rPr kumimoji="0" lang="en-US" sz="15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Unconstitutional Detention</a:t>
              </a:r>
              <a:endParaRPr kumimoji="0" lang="en-US" sz="15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Arial"/>
              </a:endParaRPr>
            </a:p>
            <a:p>
              <a:pPr marL="457200" marR="0" lvl="1" indent="0" algn="l" defTabSz="488950" rtl="0" eaLnBrk="1" fontAlgn="auto" latinLnBrk="0" hangingPunct="1">
                <a:lnSpc>
                  <a:spcPct val="90000"/>
                </a:lnSpc>
                <a:spcBef>
                  <a:spcPct val="0"/>
                </a:spcBef>
                <a:spcAft>
                  <a:spcPct val="35000"/>
                </a:spcAft>
                <a:buClrTx/>
                <a:buSzTx/>
                <a:buFontTx/>
                <a:buNone/>
                <a:tabLst/>
                <a:defRPr/>
              </a:pPr>
              <a:r>
                <a:rPr kumimoji="0" lang="en-US" sz="15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Arial"/>
                </a:rPr>
                <a:t>NOTE:  ALL need to all be represented by an immigration attorney</a:t>
              </a:r>
            </a:p>
          </p:txBody>
        </p:sp>
        <p:sp>
          <p:nvSpPr>
            <p:cNvPr id="8" name="Freeform: Shape 7">
              <a:extLst>
                <a:ext uri="{FF2B5EF4-FFF2-40B4-BE49-F238E27FC236}">
                  <a16:creationId xmlns:a16="http://schemas.microsoft.com/office/drawing/2014/main" id="{F75C4DAF-359B-B77C-8E9E-EDC26167DC5D}"/>
                </a:ext>
              </a:extLst>
            </p:cNvPr>
            <p:cNvSpPr/>
            <p:nvPr/>
          </p:nvSpPr>
          <p:spPr>
            <a:xfrm>
              <a:off x="838200" y="2762444"/>
              <a:ext cx="2628901" cy="1855512"/>
            </a:xfrm>
            <a:custGeom>
              <a:avLst/>
              <a:gdLst>
                <a:gd name="connsiteX0" fmla="*/ 0 w 2628900"/>
                <a:gd name="connsiteY0" fmla="*/ 649856 h 1855511"/>
                <a:gd name="connsiteX1" fmla="*/ 1268062 w 2628900"/>
                <a:gd name="connsiteY1" fmla="*/ 649856 h 1855511"/>
                <a:gd name="connsiteX2" fmla="*/ 1268062 w 2628900"/>
                <a:gd name="connsiteY2" fmla="*/ 278327 h 1855511"/>
                <a:gd name="connsiteX3" fmla="*/ 1128899 w 2628900"/>
                <a:gd name="connsiteY3" fmla="*/ 278327 h 1855511"/>
                <a:gd name="connsiteX4" fmla="*/ 1314450 w 2628900"/>
                <a:gd name="connsiteY4" fmla="*/ 0 h 1855511"/>
                <a:gd name="connsiteX5" fmla="*/ 1500001 w 2628900"/>
                <a:gd name="connsiteY5" fmla="*/ 278327 h 1855511"/>
                <a:gd name="connsiteX6" fmla="*/ 1360838 w 2628900"/>
                <a:gd name="connsiteY6" fmla="*/ 278327 h 1855511"/>
                <a:gd name="connsiteX7" fmla="*/ 1360838 w 2628900"/>
                <a:gd name="connsiteY7" fmla="*/ 649856 h 1855511"/>
                <a:gd name="connsiteX8" fmla="*/ 2628900 w 2628900"/>
                <a:gd name="connsiteY8" fmla="*/ 649856 h 1855511"/>
                <a:gd name="connsiteX9" fmla="*/ 2628900 w 2628900"/>
                <a:gd name="connsiteY9" fmla="*/ 1855511 h 1855511"/>
                <a:gd name="connsiteX10" fmla="*/ 0 w 2628900"/>
                <a:gd name="connsiteY10" fmla="*/ 1855511 h 1855511"/>
                <a:gd name="connsiteX11" fmla="*/ 0 w 2628900"/>
                <a:gd name="connsiteY11" fmla="*/ 649856 h 185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28900" h="1855511">
                  <a:moveTo>
                    <a:pt x="2628900" y="1205655"/>
                  </a:moveTo>
                  <a:lnTo>
                    <a:pt x="1360838" y="1205655"/>
                  </a:lnTo>
                  <a:lnTo>
                    <a:pt x="1360838" y="1577184"/>
                  </a:lnTo>
                  <a:lnTo>
                    <a:pt x="1500001" y="1577184"/>
                  </a:lnTo>
                  <a:lnTo>
                    <a:pt x="1314450" y="1855511"/>
                  </a:lnTo>
                  <a:lnTo>
                    <a:pt x="1128899" y="1577184"/>
                  </a:lnTo>
                  <a:lnTo>
                    <a:pt x="1268062" y="1577184"/>
                  </a:lnTo>
                  <a:lnTo>
                    <a:pt x="1268062" y="1205655"/>
                  </a:lnTo>
                  <a:lnTo>
                    <a:pt x="0" y="1205655"/>
                  </a:lnTo>
                  <a:lnTo>
                    <a:pt x="0" y="0"/>
                  </a:lnTo>
                  <a:lnTo>
                    <a:pt x="2628900" y="0"/>
                  </a:lnTo>
                  <a:lnTo>
                    <a:pt x="2628900" y="1205655"/>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967" tIns="106681" rIns="186968" bIns="1178515"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a:ea typeface="+mn-ea"/>
                  <a:cs typeface="+mn-cs"/>
                </a:rPr>
                <a:t>How?</a:t>
              </a:r>
            </a:p>
          </p:txBody>
        </p:sp>
        <p:sp>
          <p:nvSpPr>
            <p:cNvPr id="9" name="Rectangle 8">
              <a:extLst>
                <a:ext uri="{FF2B5EF4-FFF2-40B4-BE49-F238E27FC236}">
                  <a16:creationId xmlns:a16="http://schemas.microsoft.com/office/drawing/2014/main" id="{C4BF31BD-7386-6299-9C90-2663DD60D221}"/>
                </a:ext>
              </a:extLst>
            </p:cNvPr>
            <p:cNvSpPr/>
            <p:nvPr/>
          </p:nvSpPr>
          <p:spPr>
            <a:xfrm>
              <a:off x="3467100" y="2773652"/>
              <a:ext cx="7886700" cy="1206082"/>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7E92EF7E-ED24-3554-A39E-41942A61ED4A}"/>
                </a:ext>
              </a:extLst>
            </p:cNvPr>
            <p:cNvSpPr/>
            <p:nvPr/>
          </p:nvSpPr>
          <p:spPr>
            <a:xfrm>
              <a:off x="838200" y="1294825"/>
              <a:ext cx="2628900" cy="1452102"/>
            </a:xfrm>
            <a:custGeom>
              <a:avLst/>
              <a:gdLst>
                <a:gd name="connsiteX0" fmla="*/ 0 w 2628900"/>
                <a:gd name="connsiteY0" fmla="*/ 649856 h 1855511"/>
                <a:gd name="connsiteX1" fmla="*/ 1268062 w 2628900"/>
                <a:gd name="connsiteY1" fmla="*/ 649856 h 1855511"/>
                <a:gd name="connsiteX2" fmla="*/ 1268062 w 2628900"/>
                <a:gd name="connsiteY2" fmla="*/ 278327 h 1855511"/>
                <a:gd name="connsiteX3" fmla="*/ 1128899 w 2628900"/>
                <a:gd name="connsiteY3" fmla="*/ 278327 h 1855511"/>
                <a:gd name="connsiteX4" fmla="*/ 1314450 w 2628900"/>
                <a:gd name="connsiteY4" fmla="*/ 0 h 1855511"/>
                <a:gd name="connsiteX5" fmla="*/ 1500001 w 2628900"/>
                <a:gd name="connsiteY5" fmla="*/ 278327 h 1855511"/>
                <a:gd name="connsiteX6" fmla="*/ 1360838 w 2628900"/>
                <a:gd name="connsiteY6" fmla="*/ 278327 h 1855511"/>
                <a:gd name="connsiteX7" fmla="*/ 1360838 w 2628900"/>
                <a:gd name="connsiteY7" fmla="*/ 649856 h 1855511"/>
                <a:gd name="connsiteX8" fmla="*/ 2628900 w 2628900"/>
                <a:gd name="connsiteY8" fmla="*/ 649856 h 1855511"/>
                <a:gd name="connsiteX9" fmla="*/ 2628900 w 2628900"/>
                <a:gd name="connsiteY9" fmla="*/ 1855511 h 1855511"/>
                <a:gd name="connsiteX10" fmla="*/ 0 w 2628900"/>
                <a:gd name="connsiteY10" fmla="*/ 1855511 h 1855511"/>
                <a:gd name="connsiteX11" fmla="*/ 0 w 2628900"/>
                <a:gd name="connsiteY11" fmla="*/ 649856 h 185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28900" h="1855511">
                  <a:moveTo>
                    <a:pt x="2628900" y="1205655"/>
                  </a:moveTo>
                  <a:lnTo>
                    <a:pt x="1360838" y="1205655"/>
                  </a:lnTo>
                  <a:lnTo>
                    <a:pt x="1360838" y="1577184"/>
                  </a:lnTo>
                  <a:lnTo>
                    <a:pt x="1500001" y="1577184"/>
                  </a:lnTo>
                  <a:lnTo>
                    <a:pt x="1314450" y="1855511"/>
                  </a:lnTo>
                  <a:lnTo>
                    <a:pt x="1128899" y="1577184"/>
                  </a:lnTo>
                  <a:lnTo>
                    <a:pt x="1268062" y="1577184"/>
                  </a:lnTo>
                  <a:lnTo>
                    <a:pt x="1268062" y="1205655"/>
                  </a:lnTo>
                  <a:lnTo>
                    <a:pt x="0" y="1205655"/>
                  </a:lnTo>
                  <a:lnTo>
                    <a:pt x="0" y="0"/>
                  </a:lnTo>
                  <a:lnTo>
                    <a:pt x="2628900" y="0"/>
                  </a:lnTo>
                  <a:lnTo>
                    <a:pt x="2628900" y="1205655"/>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967" tIns="106680" rIns="186967" bIns="75611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a:ea typeface="+mn-ea"/>
                  <a:cs typeface="+mn-cs"/>
                </a:rPr>
                <a:t>Who?</a:t>
              </a:r>
            </a:p>
          </p:txBody>
        </p:sp>
        <p:sp>
          <p:nvSpPr>
            <p:cNvPr id="11" name="Freeform: Shape 10">
              <a:extLst>
                <a:ext uri="{FF2B5EF4-FFF2-40B4-BE49-F238E27FC236}">
                  <a16:creationId xmlns:a16="http://schemas.microsoft.com/office/drawing/2014/main" id="{A7351B06-303A-E731-47A8-827D0BBBD7A3}"/>
                </a:ext>
              </a:extLst>
            </p:cNvPr>
            <p:cNvSpPr/>
            <p:nvPr/>
          </p:nvSpPr>
          <p:spPr>
            <a:xfrm>
              <a:off x="3467100" y="1294825"/>
              <a:ext cx="7886700" cy="948347"/>
            </a:xfrm>
            <a:custGeom>
              <a:avLst/>
              <a:gdLst>
                <a:gd name="connsiteX0" fmla="*/ 0 w 7886700"/>
                <a:gd name="connsiteY0" fmla="*/ 0 h 1206082"/>
                <a:gd name="connsiteX1" fmla="*/ 7886700 w 7886700"/>
                <a:gd name="connsiteY1" fmla="*/ 0 h 1206082"/>
                <a:gd name="connsiteX2" fmla="*/ 7886700 w 7886700"/>
                <a:gd name="connsiteY2" fmla="*/ 1206082 h 1206082"/>
                <a:gd name="connsiteX3" fmla="*/ 0 w 7886700"/>
                <a:gd name="connsiteY3" fmla="*/ 1206082 h 1206082"/>
                <a:gd name="connsiteX4" fmla="*/ 0 w 7886700"/>
                <a:gd name="connsiteY4" fmla="*/ 0 h 120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700" h="1206082">
                  <a:moveTo>
                    <a:pt x="0" y="0"/>
                  </a:moveTo>
                  <a:lnTo>
                    <a:pt x="7886700" y="0"/>
                  </a:lnTo>
                  <a:lnTo>
                    <a:pt x="7886700" y="1206082"/>
                  </a:lnTo>
                  <a:lnTo>
                    <a:pt x="0" y="1206082"/>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59980" tIns="139700" rIns="159980" bIns="139700"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grpSp>
      <p:sp>
        <p:nvSpPr>
          <p:cNvPr id="13" name="TextBox 12">
            <a:extLst>
              <a:ext uri="{FF2B5EF4-FFF2-40B4-BE49-F238E27FC236}">
                <a16:creationId xmlns:a16="http://schemas.microsoft.com/office/drawing/2014/main" id="{0F0ACACB-B428-147E-EEC4-79AC3F587F3B}"/>
              </a:ext>
            </a:extLst>
          </p:cNvPr>
          <p:cNvSpPr txBox="1"/>
          <p:nvPr/>
        </p:nvSpPr>
        <p:spPr>
          <a:xfrm>
            <a:off x="3865789" y="1815221"/>
            <a:ext cx="6411686" cy="687881"/>
          </a:xfrm>
          <a:prstGeom prst="rect">
            <a:avLst/>
          </a:prstGeom>
          <a:noFill/>
          <a:ln w="6350">
            <a:noFill/>
            <a:miter lim="800000"/>
          </a:ln>
        </p:spPr>
        <p:txBody>
          <a:bodyPr wrap="square" lIns="91440" tIns="45720" rIns="91440" bIns="45720" anchor="t">
            <a:sp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Partnership between AILA Lawyers, Non-profits, </a:t>
            </a:r>
            <a:endParaRPr kumimoji="0" lang="en-US" sz="1800" b="0" i="0" u="none" strike="noStrike" kern="1200" cap="none" spc="0" normalizeH="0" baseline="0" noProof="0">
              <a:ln>
                <a:noFill/>
              </a:ln>
              <a:solidFill>
                <a:srgbClr val="FFFFFF"/>
              </a:solidFill>
              <a:effectLst/>
              <a:highlight>
                <a:srgbClr val="000080"/>
              </a:highlight>
              <a:uLnTx/>
              <a:uFillTx/>
              <a:latin typeface="Arial"/>
              <a:ea typeface="+mn-ea"/>
              <a:cs typeface="+mn-cs"/>
            </a:endParaRPr>
          </a:p>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Federal Criminal Defense Lawyers and Civil Litigators</a:t>
            </a:r>
            <a:endParaRPr kumimoji="0" lang="en-US" sz="1800" b="0" i="0" u="none" strike="noStrike" kern="1200" cap="none" spc="0" normalizeH="0" baseline="0" noProof="0">
              <a:ln>
                <a:noFill/>
              </a:ln>
              <a:solidFill>
                <a:srgbClr val="FFFFFF"/>
              </a:solidFill>
              <a:effectLst/>
              <a:highlight>
                <a:srgbClr val="000080"/>
              </a:highlight>
              <a:uLnTx/>
              <a:uFillTx/>
              <a:latin typeface="Arial"/>
              <a:ea typeface="+mn-ea"/>
              <a:cs typeface="Arial"/>
            </a:endParaRPr>
          </a:p>
        </p:txBody>
      </p:sp>
      <p:sp>
        <p:nvSpPr>
          <p:cNvPr id="15" name="TextBox 14">
            <a:extLst>
              <a:ext uri="{FF2B5EF4-FFF2-40B4-BE49-F238E27FC236}">
                <a16:creationId xmlns:a16="http://schemas.microsoft.com/office/drawing/2014/main" id="{2AEB0C6E-D72C-41FE-1FEE-B46E8B1EAA63}"/>
              </a:ext>
            </a:extLst>
          </p:cNvPr>
          <p:cNvSpPr txBox="1"/>
          <p:nvPr/>
        </p:nvSpPr>
        <p:spPr>
          <a:xfrm>
            <a:off x="3865789" y="3122059"/>
            <a:ext cx="6551386" cy="1034129"/>
          </a:xfrm>
          <a:prstGeom prst="rect">
            <a:avLst/>
          </a:prstGeom>
          <a:noFill/>
          <a:ln w="6350">
            <a:noFill/>
            <a:miter lim="800000"/>
          </a:ln>
        </p:spPr>
        <p:txBody>
          <a:bodyPr wrap="square" lIns="91440" tIns="45720" rIns="91440" bIns="45720" anchor="t">
            <a:sp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Recruitment to MACDL attorneys</a:t>
            </a:r>
          </a:p>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New Training for 100 new lawyers 9/15</a:t>
            </a:r>
          </a:p>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Increase capacity to Mass residents held outside state</a:t>
            </a:r>
            <a:endParaRPr kumimoji="0" lang="en-US" sz="1800" b="0" i="0" u="none" strike="noStrike" kern="1200" cap="none" spc="0" normalizeH="0" baseline="0" noProof="0">
              <a:ln>
                <a:noFill/>
              </a:ln>
              <a:solidFill>
                <a:srgbClr val="000000"/>
              </a:solidFill>
              <a:effectLst/>
              <a:highlight>
                <a:srgbClr val="000080"/>
              </a:highlight>
              <a:uLnTx/>
              <a:uFillTx/>
              <a:latin typeface="Arial"/>
              <a:ea typeface="+mn-ea"/>
              <a:cs typeface="Arial"/>
            </a:endParaRPr>
          </a:p>
        </p:txBody>
      </p:sp>
      <p:sp>
        <p:nvSpPr>
          <p:cNvPr id="5" name="TextBox 4">
            <a:extLst>
              <a:ext uri="{FF2B5EF4-FFF2-40B4-BE49-F238E27FC236}">
                <a16:creationId xmlns:a16="http://schemas.microsoft.com/office/drawing/2014/main" id="{6432095D-56BB-1144-8B0C-0726DC9D7869}"/>
              </a:ext>
            </a:extLst>
          </p:cNvPr>
          <p:cNvSpPr txBox="1"/>
          <p:nvPr/>
        </p:nvSpPr>
        <p:spPr>
          <a:xfrm>
            <a:off x="3047" y="6641692"/>
            <a:ext cx="12188953"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
        <p:nvSpPr>
          <p:cNvPr id="2" name="TextBox 1">
            <a:extLst>
              <a:ext uri="{FF2B5EF4-FFF2-40B4-BE49-F238E27FC236}">
                <a16:creationId xmlns:a16="http://schemas.microsoft.com/office/drawing/2014/main" id="{F716ACA1-BC68-732E-F02E-E698FEA01DF8}"/>
              </a:ext>
            </a:extLst>
          </p:cNvPr>
          <p:cNvSpPr txBox="1"/>
          <p:nvPr/>
        </p:nvSpPr>
        <p:spPr>
          <a:xfrm>
            <a:off x="1676400" y="1077304"/>
            <a:ext cx="8077200" cy="599583"/>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4" name="TextBox 13">
            <a:extLst>
              <a:ext uri="{FF2B5EF4-FFF2-40B4-BE49-F238E27FC236}">
                <a16:creationId xmlns:a16="http://schemas.microsoft.com/office/drawing/2014/main" id="{4ADF80F4-09E0-5A97-F482-4FBD57C38F25}"/>
              </a:ext>
            </a:extLst>
          </p:cNvPr>
          <p:cNvSpPr txBox="1"/>
          <p:nvPr/>
        </p:nvSpPr>
        <p:spPr>
          <a:xfrm>
            <a:off x="1826419" y="1080295"/>
            <a:ext cx="7927181" cy="369332"/>
          </a:xfrm>
          <a:prstGeom prst="rect">
            <a:avLst/>
          </a:prstGeom>
          <a:noFill/>
          <a:ln w="6350">
            <a:noFill/>
            <a:miter lim="800000"/>
          </a:ln>
        </p:spPr>
        <p:txBody>
          <a:bodyPr wrap="square">
            <a:spAutoFit/>
          </a:bodyPr>
          <a:lstStyle/>
          <a:p>
            <a:r>
              <a:rPr lang="en-US" i="1"/>
              <a:t>Please note – the Habeas Project is only for those with immigration counsel</a:t>
            </a:r>
          </a:p>
        </p:txBody>
      </p:sp>
    </p:spTree>
    <p:extLst>
      <p:ext uri="{BB962C8B-B14F-4D97-AF65-F5344CB8AC3E}">
        <p14:creationId xmlns:p14="http://schemas.microsoft.com/office/powerpoint/2010/main" val="20797224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C5473-BA71-C0EC-56A1-ED89DB2B0791}"/>
              </a:ext>
            </a:extLst>
          </p:cNvPr>
          <p:cNvSpPr>
            <a:spLocks noGrp="1"/>
          </p:cNvSpPr>
          <p:nvPr>
            <p:ph type="title"/>
          </p:nvPr>
        </p:nvSpPr>
        <p:spPr/>
        <p:txBody>
          <a:bodyPr/>
          <a:lstStyle/>
          <a:p>
            <a:r>
              <a:rPr lang="en-US"/>
              <a:t>Other Questions:</a:t>
            </a:r>
          </a:p>
        </p:txBody>
      </p:sp>
      <p:sp>
        <p:nvSpPr>
          <p:cNvPr id="3" name="Content Placeholder 2">
            <a:extLst>
              <a:ext uri="{FF2B5EF4-FFF2-40B4-BE49-F238E27FC236}">
                <a16:creationId xmlns:a16="http://schemas.microsoft.com/office/drawing/2014/main" id="{AA0C503E-C3E3-2FBB-B9DD-73F1D1C98EE2}"/>
              </a:ext>
            </a:extLst>
          </p:cNvPr>
          <p:cNvSpPr>
            <a:spLocks noGrp="1"/>
          </p:cNvSpPr>
          <p:nvPr>
            <p:ph sz="quarter" idx="11"/>
          </p:nvPr>
        </p:nvSpPr>
        <p:spPr>
          <a:xfrm>
            <a:off x="554037" y="1514475"/>
            <a:ext cx="11082528" cy="3862596"/>
          </a:xfrm>
        </p:spPr>
        <p:txBody>
          <a:bodyPr/>
          <a:lstStyle/>
          <a:p>
            <a:r>
              <a:rPr lang="en-US" sz="3600"/>
              <a:t>How do I locate my family member?</a:t>
            </a:r>
          </a:p>
          <a:p>
            <a:pPr marL="231775" lvl="1" indent="0">
              <a:buNone/>
            </a:pPr>
            <a:endParaRPr lang="en-US"/>
          </a:p>
          <a:p>
            <a:pPr lvl="1"/>
            <a:r>
              <a:rPr lang="en-US"/>
              <a:t>Go to Google</a:t>
            </a:r>
          </a:p>
          <a:p>
            <a:pPr lvl="1"/>
            <a:r>
              <a:rPr lang="en-US"/>
              <a:t>Type “ICE online detainee locator:</a:t>
            </a:r>
          </a:p>
          <a:p>
            <a:pPr lvl="1"/>
            <a:r>
              <a:rPr lang="en-US"/>
              <a:t>You will see this website:  </a:t>
            </a:r>
            <a:r>
              <a:rPr lang="en-US">
                <a:hlinkClick r:id="rId2"/>
              </a:rPr>
              <a:t>https://locator.ice.gov/odls/#/search</a:t>
            </a:r>
            <a:endParaRPr lang="en-US"/>
          </a:p>
          <a:p>
            <a:pPr lvl="1"/>
            <a:endParaRPr lang="en-US"/>
          </a:p>
          <a:p>
            <a:r>
              <a:rPr lang="en-US"/>
              <a:t>Put in family members name, country of origin and A number</a:t>
            </a:r>
          </a:p>
          <a:p>
            <a:endParaRPr lang="en-US"/>
          </a:p>
          <a:p>
            <a:r>
              <a:rPr lang="en-US"/>
              <a:t>NOTE: Maine is different</a:t>
            </a:r>
          </a:p>
          <a:p>
            <a:r>
              <a:rPr lang="en-US"/>
              <a:t>NOTE:  Wrong spelling, </a:t>
            </a:r>
            <a:r>
              <a:rPr lang="en-US" err="1"/>
              <a:t>etc</a:t>
            </a:r>
            <a:r>
              <a:rPr lang="en-US"/>
              <a:t> can delay</a:t>
            </a:r>
          </a:p>
          <a:p>
            <a:pPr lvl="1"/>
            <a:endParaRPr lang="en-US"/>
          </a:p>
        </p:txBody>
      </p:sp>
      <p:sp>
        <p:nvSpPr>
          <p:cNvPr id="4" name="Text Placeholder 3">
            <a:extLst>
              <a:ext uri="{FF2B5EF4-FFF2-40B4-BE49-F238E27FC236}">
                <a16:creationId xmlns:a16="http://schemas.microsoft.com/office/drawing/2014/main" id="{59DD7A92-5125-7B8F-08C8-75264AB4706A}"/>
              </a:ext>
            </a:extLst>
          </p:cNvPr>
          <p:cNvSpPr>
            <a:spLocks noGrp="1"/>
          </p:cNvSpPr>
          <p:nvPr>
            <p:ph type="body" sz="quarter" idx="12"/>
          </p:nvPr>
        </p:nvSpPr>
        <p:spPr/>
        <p:txBody>
          <a:bodyPr/>
          <a:lstStyle/>
          <a:p>
            <a:r>
              <a:rPr lang="en-US"/>
              <a:t>Locating Family members can take 36-48 hours</a:t>
            </a:r>
          </a:p>
        </p:txBody>
      </p:sp>
    </p:spTree>
    <p:extLst>
      <p:ext uri="{BB962C8B-B14F-4D97-AF65-F5344CB8AC3E}">
        <p14:creationId xmlns:p14="http://schemas.microsoft.com/office/powerpoint/2010/main" val="29672090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21339-6595-69B6-C41D-5934E62C974F}"/>
              </a:ext>
            </a:extLst>
          </p:cNvPr>
          <p:cNvSpPr>
            <a:spLocks noGrp="1"/>
          </p:cNvSpPr>
          <p:nvPr>
            <p:ph type="title"/>
          </p:nvPr>
        </p:nvSpPr>
        <p:spPr/>
        <p:txBody>
          <a:bodyPr/>
          <a:lstStyle/>
          <a:p>
            <a:r>
              <a:rPr lang="en-US"/>
              <a:t>Protecting your assets: Homes, Bank Accounts and Businesses</a:t>
            </a:r>
          </a:p>
        </p:txBody>
      </p:sp>
      <p:sp>
        <p:nvSpPr>
          <p:cNvPr id="3" name="Content Placeholder 2">
            <a:extLst>
              <a:ext uri="{FF2B5EF4-FFF2-40B4-BE49-F238E27FC236}">
                <a16:creationId xmlns:a16="http://schemas.microsoft.com/office/drawing/2014/main" id="{54BA5C77-8F35-FEEF-09BB-247D6EEA857A}"/>
              </a:ext>
            </a:extLst>
          </p:cNvPr>
          <p:cNvSpPr>
            <a:spLocks noGrp="1"/>
          </p:cNvSpPr>
          <p:nvPr>
            <p:ph sz="quarter" idx="11"/>
          </p:nvPr>
        </p:nvSpPr>
        <p:spPr>
          <a:xfrm>
            <a:off x="554037" y="1514474"/>
            <a:ext cx="11082528" cy="4809009"/>
          </a:xfrm>
          <a:ln>
            <a:solidFill>
              <a:schemeClr val="accent2"/>
            </a:solidFill>
          </a:ln>
        </p:spPr>
        <p:style>
          <a:lnRef idx="2">
            <a:schemeClr val="accent2"/>
          </a:lnRef>
          <a:fillRef idx="1">
            <a:schemeClr val="lt1"/>
          </a:fillRef>
          <a:effectRef idx="0">
            <a:schemeClr val="accent2"/>
          </a:effectRef>
          <a:fontRef idx="minor">
            <a:schemeClr val="dk1"/>
          </a:fontRef>
        </p:style>
        <p:txBody>
          <a:bodyPr/>
          <a:lstStyle/>
          <a:p>
            <a:pPr marL="0" indent="0">
              <a:buNone/>
            </a:pPr>
            <a:r>
              <a:rPr lang="en-US"/>
              <a:t>1</a:t>
            </a:r>
            <a:r>
              <a:rPr lang="en-US" b="1" i="1"/>
              <a:t>. What is a Limited Power of Attorney?</a:t>
            </a:r>
          </a:p>
          <a:p>
            <a:pPr lvl="1"/>
            <a:r>
              <a:rPr lang="en-US"/>
              <a:t>It gives a trusted person that you choose the power to access your bank accounts, sell your home, rent your home, engage other employees and generally manage your affairs if you are deported.</a:t>
            </a:r>
          </a:p>
          <a:p>
            <a:pPr marL="0" indent="0">
              <a:buNone/>
            </a:pPr>
            <a:endParaRPr lang="en-US"/>
          </a:p>
          <a:p>
            <a:pPr marL="0" indent="0">
              <a:buNone/>
            </a:pPr>
            <a:r>
              <a:rPr lang="en-US"/>
              <a:t>2. </a:t>
            </a:r>
            <a:r>
              <a:rPr lang="en-US" b="1" i="1"/>
              <a:t>Can I have a Limited Power of Attorney drafted overseas?</a:t>
            </a:r>
          </a:p>
          <a:p>
            <a:pPr lvl="1"/>
            <a:r>
              <a:rPr lang="en-US"/>
              <a:t>You can use delivery services such as DHL to send the original document back to the agent</a:t>
            </a:r>
          </a:p>
          <a:p>
            <a:pPr lvl="1"/>
            <a:r>
              <a:rPr lang="en-US"/>
              <a:t>You can use a notary overseas to have it notarized, however you also need an apostle and it is very complicated</a:t>
            </a:r>
          </a:p>
          <a:p>
            <a:pPr marL="231775" lvl="1" indent="0">
              <a:buNone/>
            </a:pPr>
            <a:endParaRPr lang="en-US"/>
          </a:p>
          <a:p>
            <a:pPr marL="0" indent="0">
              <a:buNone/>
            </a:pPr>
            <a:r>
              <a:rPr lang="en-US"/>
              <a:t>3. </a:t>
            </a:r>
            <a:r>
              <a:rPr lang="en-US" b="1" i="1"/>
              <a:t>What if I want to revoke the POA?</a:t>
            </a:r>
          </a:p>
          <a:p>
            <a:pPr lvl="1"/>
            <a:r>
              <a:rPr lang="en-US"/>
              <a:t>That can be written into the language of the document</a:t>
            </a:r>
          </a:p>
          <a:p>
            <a:pPr marL="0" indent="0">
              <a:buNone/>
            </a:pPr>
            <a:endParaRPr lang="en-US"/>
          </a:p>
          <a:p>
            <a:pPr marL="0" indent="0">
              <a:buNone/>
            </a:pPr>
            <a:r>
              <a:rPr lang="en-US"/>
              <a:t>4. </a:t>
            </a:r>
            <a:r>
              <a:rPr lang="en-US" b="1" i="1"/>
              <a:t>What about my bank accounts?</a:t>
            </a:r>
          </a:p>
          <a:p>
            <a:pPr lvl="1"/>
            <a:r>
              <a:rPr lang="en-US"/>
              <a:t>You can allow a co-signer to access your bank accounts</a:t>
            </a:r>
          </a:p>
          <a:p>
            <a:pPr lvl="1"/>
            <a:r>
              <a:rPr lang="en-US"/>
              <a:t>Alternatively, allow the agent of the POA.</a:t>
            </a:r>
          </a:p>
        </p:txBody>
      </p:sp>
      <p:sp>
        <p:nvSpPr>
          <p:cNvPr id="4" name="Text Placeholder 3">
            <a:extLst>
              <a:ext uri="{FF2B5EF4-FFF2-40B4-BE49-F238E27FC236}">
                <a16:creationId xmlns:a16="http://schemas.microsoft.com/office/drawing/2014/main" id="{60DD0B1D-E1CE-A89E-60B9-2F8C4197FB0A}"/>
              </a:ext>
            </a:extLst>
          </p:cNvPr>
          <p:cNvSpPr>
            <a:spLocks noGrp="1"/>
          </p:cNvSpPr>
          <p:nvPr>
            <p:ph type="body" sz="quarter" idx="12"/>
          </p:nvPr>
        </p:nvSpPr>
        <p:spPr/>
        <p:txBody>
          <a:bodyPr/>
          <a:lstStyle/>
          <a:p>
            <a:r>
              <a:rPr lang="en-US"/>
              <a:t>A Limited Power of Attorney gives someone power to act on your behalf</a:t>
            </a:r>
          </a:p>
        </p:txBody>
      </p:sp>
      <p:sp>
        <p:nvSpPr>
          <p:cNvPr id="5" name="TextBox 4">
            <a:extLst>
              <a:ext uri="{FF2B5EF4-FFF2-40B4-BE49-F238E27FC236}">
                <a16:creationId xmlns:a16="http://schemas.microsoft.com/office/drawing/2014/main" id="{E69A8793-2F33-A4E1-57D1-105D45DEFBFB}"/>
              </a:ext>
            </a:extLst>
          </p:cNvPr>
          <p:cNvSpPr txBox="1"/>
          <p:nvPr/>
        </p:nvSpPr>
        <p:spPr>
          <a:xfrm>
            <a:off x="5638800" y="3007360"/>
            <a:ext cx="914400" cy="914400"/>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E67B7D30-2227-7897-92EE-D2AFC5DBE601}"/>
              </a:ext>
            </a:extLst>
          </p:cNvPr>
          <p:cNvSpPr txBox="1"/>
          <p:nvPr/>
        </p:nvSpPr>
        <p:spPr>
          <a:xfrm>
            <a:off x="5638800" y="3007360"/>
            <a:ext cx="914400" cy="914400"/>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F9FFB611-60D6-D4B8-CAA6-E1F5EFD73A1E}"/>
              </a:ext>
            </a:extLst>
          </p:cNvPr>
          <p:cNvSpPr txBox="1"/>
          <p:nvPr/>
        </p:nvSpPr>
        <p:spPr>
          <a:xfrm>
            <a:off x="6979920" y="1378336"/>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913485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F7837D5-747C-0873-374E-2EFE4BF5A6F9}"/>
              </a:ext>
            </a:extLst>
          </p:cNvPr>
          <p:cNvPicPr>
            <a:picLocks noChangeAspect="1"/>
          </p:cNvPicPr>
          <p:nvPr/>
        </p:nvPicPr>
        <p:blipFill>
          <a:blip r:embed="rId2">
            <a:duotone>
              <a:schemeClr val="bg2">
                <a:shade val="45000"/>
                <a:satMod val="135000"/>
              </a:schemeClr>
              <a:prstClr val="white"/>
            </a:duotone>
          </a:blip>
          <a:srcRect t="25000"/>
          <a:stretch/>
        </p:blipFill>
        <p:spPr>
          <a:xfrm>
            <a:off x="20" y="10"/>
            <a:ext cx="12191980" cy="6857990"/>
          </a:xfrm>
          <a:prstGeom prst="rect">
            <a:avLst/>
          </a:prstGeom>
        </p:spPr>
      </p:pic>
      <p:graphicFrame>
        <p:nvGraphicFramePr>
          <p:cNvPr id="5" name="Content Placeholder 2">
            <a:extLst>
              <a:ext uri="{FF2B5EF4-FFF2-40B4-BE49-F238E27FC236}">
                <a16:creationId xmlns:a16="http://schemas.microsoft.com/office/drawing/2014/main" id="{90AEF9B1-D7F5-9D80-BE0E-20EB4457C2FE}"/>
              </a:ext>
            </a:extLst>
          </p:cNvPr>
          <p:cNvGraphicFramePr>
            <a:graphicFrameLocks noGrp="1"/>
          </p:cNvGraphicFramePr>
          <p:nvPr>
            <p:ph idx="1"/>
            <p:extLst>
              <p:ext uri="{D42A27DB-BD31-4B8C-83A1-F6EECF244321}">
                <p14:modId xmlns:p14="http://schemas.microsoft.com/office/powerpoint/2010/main" val="178186987"/>
              </p:ext>
            </p:extLst>
          </p:nvPr>
        </p:nvGraphicFramePr>
        <p:xfrm>
          <a:off x="838200" y="1293813"/>
          <a:ext cx="10515600" cy="4883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EF1B2DC2-C810-AA93-B371-50499320B004}"/>
              </a:ext>
            </a:extLst>
          </p:cNvPr>
          <p:cNvSpPr>
            <a:spLocks noGrp="1"/>
          </p:cNvSpPr>
          <p:nvPr>
            <p:ph type="title"/>
          </p:nvPr>
        </p:nvSpPr>
        <p:spPr/>
        <p:txBody>
          <a:bodyPr>
            <a:normAutofit/>
          </a:bodyPr>
          <a:lstStyle/>
          <a:p>
            <a:r>
              <a:rPr lang="en-US" sz="4000">
                <a:solidFill>
                  <a:schemeClr val="tx1"/>
                </a:solidFill>
              </a:rPr>
              <a:t>At risk?  Make A Safety Plan</a:t>
            </a:r>
          </a:p>
        </p:txBody>
      </p:sp>
      <p:sp>
        <p:nvSpPr>
          <p:cNvPr id="3" name="TextBox 2">
            <a:extLst>
              <a:ext uri="{FF2B5EF4-FFF2-40B4-BE49-F238E27FC236}">
                <a16:creationId xmlns:a16="http://schemas.microsoft.com/office/drawing/2014/main" id="{9F96BDF1-FE28-B3AB-411F-1FA5B825BCB8}"/>
              </a:ext>
            </a:extLst>
          </p:cNvPr>
          <p:cNvSpPr txBox="1"/>
          <p:nvPr/>
        </p:nvSpPr>
        <p:spPr>
          <a:xfrm>
            <a:off x="3047" y="6641692"/>
            <a:ext cx="12188953"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29424751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7FFD8E5-E907-32E9-58D3-4BF52BBBF797}"/>
            </a:ext>
          </a:extLst>
        </p:cNvPr>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58E39E4-B861-7B6C-182F-DC6481BCA3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useBgFill="1">
        <p:nvSpPr>
          <p:cNvPr id="10" name="Rectangle 9">
            <a:extLst>
              <a:ext uri="{FF2B5EF4-FFF2-40B4-BE49-F238E27FC236}">
                <a16:creationId xmlns:a16="http://schemas.microsoft.com/office/drawing/2014/main" id="{04C84494-C12D-09C4-F73A-69DE770F9C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78BCD642-BFC4-E83A-6256-B431EC4417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A764BC43-A06B-A625-81FD-99C13E8A8F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Rectangle 15">
            <a:extLst>
              <a:ext uri="{FF2B5EF4-FFF2-40B4-BE49-F238E27FC236}">
                <a16:creationId xmlns:a16="http://schemas.microsoft.com/office/drawing/2014/main" id="{856A7394-C7B3-8DAD-07BF-5C02E5C56D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Freeform: Shape 17">
            <a:extLst>
              <a:ext uri="{FF2B5EF4-FFF2-40B4-BE49-F238E27FC236}">
                <a16:creationId xmlns:a16="http://schemas.microsoft.com/office/drawing/2014/main" id="{9CAB6FD7-EA92-9C8E-F0F1-BC0ADC4B1B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 name="Rectangle 19">
            <a:extLst>
              <a:ext uri="{FF2B5EF4-FFF2-40B4-BE49-F238E27FC236}">
                <a16:creationId xmlns:a16="http://schemas.microsoft.com/office/drawing/2014/main" id="{02DE5F73-14B6-877C-4791-8F8EEE7AA5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B0382AF6-1837-BAB5-4D6A-644811485EF1}"/>
              </a:ext>
            </a:extLst>
          </p:cNvPr>
          <p:cNvSpPr>
            <a:spLocks noGrp="1"/>
          </p:cNvSpPr>
          <p:nvPr>
            <p:ph type="title"/>
          </p:nvPr>
        </p:nvSpPr>
        <p:spPr>
          <a:xfrm>
            <a:off x="466722" y="586855"/>
            <a:ext cx="3201366" cy="3387497"/>
          </a:xfrm>
        </p:spPr>
        <p:txBody>
          <a:bodyPr anchor="b">
            <a:normAutofit/>
          </a:bodyPr>
          <a:lstStyle/>
          <a:p>
            <a:pPr algn="r"/>
            <a:r>
              <a:rPr lang="en-US" sz="4000">
                <a:solidFill>
                  <a:srgbClr val="FFFFFF"/>
                </a:solidFill>
              </a:rPr>
              <a:t>Basics of Family Preparedness</a:t>
            </a:r>
          </a:p>
        </p:txBody>
      </p:sp>
      <p:sp>
        <p:nvSpPr>
          <p:cNvPr id="3" name="Content Placeholder 2">
            <a:extLst>
              <a:ext uri="{FF2B5EF4-FFF2-40B4-BE49-F238E27FC236}">
                <a16:creationId xmlns:a16="http://schemas.microsoft.com/office/drawing/2014/main" id="{AF59BEAC-8239-26CF-8058-1EBEF4728C29}"/>
              </a:ext>
            </a:extLst>
          </p:cNvPr>
          <p:cNvSpPr>
            <a:spLocks noGrp="1"/>
          </p:cNvSpPr>
          <p:nvPr>
            <p:ph idx="1"/>
          </p:nvPr>
        </p:nvSpPr>
        <p:spPr>
          <a:xfrm>
            <a:off x="4810259" y="649480"/>
            <a:ext cx="6555347" cy="5546047"/>
          </a:xfrm>
        </p:spPr>
        <p:txBody>
          <a:bodyPr anchor="ctr">
            <a:normAutofit/>
          </a:bodyPr>
          <a:lstStyle/>
          <a:p>
            <a:pPr marL="228600" marR="0" lvl="0" indent="-228600" defTabSz="914400" rtl="0" eaLnBrk="1" fontAlgn="auto" latinLnBrk="0" hangingPunct="1">
              <a:spcBef>
                <a:spcPts val="100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effectLst/>
                <a:uLnTx/>
                <a:uFillTx/>
                <a:latin typeface="Aptos" panose="02110004020202020204"/>
                <a:ea typeface="+mn-ea"/>
                <a:cs typeface="+mn-cs"/>
              </a:rPr>
              <a:t>Consider</a:t>
            </a:r>
            <a:r>
              <a:rPr lang="en-US" sz="2000" b="1">
                <a:latin typeface="Aptos" panose="02110004020202020204"/>
              </a:rPr>
              <a:t>:</a:t>
            </a:r>
            <a:endParaRPr kumimoji="0" lang="en-US" sz="2000" b="1" i="0" u="none" strike="noStrike" kern="1200" cap="none" spc="0" normalizeH="0" baseline="0" noProof="0">
              <a:ln>
                <a:noFill/>
              </a:ln>
              <a:effectLst/>
              <a:uLnTx/>
              <a:uFillTx/>
              <a:latin typeface="Aptos" panose="02110004020202020204"/>
              <a:ea typeface="+mn-ea"/>
              <a:cs typeface="+mn-cs"/>
            </a:endParaRPr>
          </a:p>
          <a:p>
            <a:pPr marL="685800" marR="0" lvl="1" indent="-228600" defTabSz="914400" rtl="0" eaLnBrk="1" fontAlgn="auto" latinLnBrk="0" hangingPunct="1">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Aptos" panose="02110004020202020204"/>
                <a:ea typeface="+mn-ea"/>
                <a:cs typeface="+mn-cs"/>
              </a:rPr>
              <a:t>Obtaining a Caregiver Affidavit</a:t>
            </a:r>
            <a:endParaRPr lang="en-US" sz="2000" b="0" i="0" u="none" strike="noStrike" kern="1200" cap="none" spc="0" normalizeH="0" baseline="0" noProof="0">
              <a:ln>
                <a:noFill/>
              </a:ln>
              <a:effectLst/>
              <a:uLnTx/>
              <a:uFillTx/>
              <a:latin typeface="Aptos" panose="02110004020202020204"/>
            </a:endParaRPr>
          </a:p>
          <a:p>
            <a:pPr marL="685800" marR="0" lvl="1" indent="-228600" defTabSz="914400" rtl="0" eaLnBrk="1" fontAlgn="auto" latinLnBrk="0" hangingPunct="1">
              <a:spcBef>
                <a:spcPts val="500"/>
              </a:spcBef>
              <a:spcAft>
                <a:spcPts val="0"/>
              </a:spcAft>
              <a:buClrTx/>
              <a:buSzTx/>
              <a:buFont typeface="Arial" panose="020B0604020202020204" pitchFamily="34" charset="0"/>
              <a:buChar char="•"/>
              <a:tabLst/>
              <a:defRPr/>
            </a:pPr>
            <a:r>
              <a:rPr lang="en-US" sz="2000"/>
              <a:t>Deciding who can care for your children if you are unable to</a:t>
            </a:r>
            <a:endParaRPr kumimoji="0" lang="en-US" sz="2000" b="0" i="0" u="none" strike="noStrike" kern="1200" cap="none" spc="0" normalizeH="0" baseline="0" noProof="0">
              <a:ln>
                <a:noFill/>
              </a:ln>
              <a:effectLst/>
              <a:uLnTx/>
              <a:uFillTx/>
              <a:latin typeface="Aptos" panose="02110004020202020204"/>
              <a:ea typeface="+mn-ea"/>
              <a:cs typeface="+mn-cs"/>
            </a:endParaRPr>
          </a:p>
          <a:p>
            <a:pPr marL="685800" marR="0" lvl="1" indent="-228600" defTabSz="914400" rtl="0" eaLnBrk="1" fontAlgn="auto" latinLnBrk="0" hangingPunct="1">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Aptos" panose="02110004020202020204"/>
                <a:ea typeface="+mn-ea"/>
                <a:cs typeface="+mn-cs"/>
              </a:rPr>
              <a:t>Ensuring school pickup lists are updated</a:t>
            </a:r>
            <a:endParaRPr lang="en-US" sz="2000" b="0" i="0" u="none" strike="noStrike" kern="1200" cap="none" spc="0" normalizeH="0" baseline="0" noProof="0">
              <a:ln>
                <a:noFill/>
              </a:ln>
              <a:effectLst/>
              <a:uLnTx/>
              <a:uFillTx/>
              <a:latin typeface="Aptos" panose="02110004020202020204"/>
            </a:endParaRPr>
          </a:p>
          <a:p>
            <a:pPr marL="685800" marR="0" lvl="1" indent="-228600" defTabSz="914400" rtl="0" eaLnBrk="1" fontAlgn="auto" latinLnBrk="0" hangingPunct="1">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Aptos" panose="02110004020202020204"/>
                <a:ea typeface="+mn-ea"/>
                <a:cs typeface="+mn-cs"/>
              </a:rPr>
              <a:t>Obtaining passports for </a:t>
            </a:r>
            <a:r>
              <a:rPr lang="en-US" sz="2000">
                <a:latin typeface="Aptos" panose="02110004020202020204"/>
              </a:rPr>
              <a:t>all </a:t>
            </a:r>
            <a:r>
              <a:rPr kumimoji="0" lang="en-US" sz="2000" b="0" i="0" u="none" strike="noStrike" kern="1200" cap="none" spc="0" normalizeH="0" baseline="0" noProof="0">
                <a:ln>
                  <a:noFill/>
                </a:ln>
                <a:effectLst/>
                <a:uLnTx/>
                <a:uFillTx/>
                <a:latin typeface="Aptos" panose="02110004020202020204"/>
                <a:ea typeface="+mn-ea"/>
                <a:cs typeface="+mn-cs"/>
              </a:rPr>
              <a:t>children (especially US or your home country)</a:t>
            </a:r>
            <a:endParaRPr lang="en-US" sz="2000" b="0" i="0" u="none" strike="noStrike" kern="1200" cap="none" spc="0" normalizeH="0" baseline="0" noProof="0">
              <a:ln>
                <a:noFill/>
              </a:ln>
              <a:effectLst/>
              <a:uLnTx/>
              <a:uFillTx/>
              <a:latin typeface="Aptos" panose="02110004020202020204"/>
            </a:endParaRPr>
          </a:p>
          <a:p>
            <a:pPr lvl="1">
              <a:defRPr/>
            </a:pPr>
            <a:r>
              <a:rPr lang="en-US" sz="2000"/>
              <a:t>Writing down instructions if your child has any medical conditions and/or takes any medications</a:t>
            </a:r>
          </a:p>
          <a:p>
            <a:pPr marL="685800" marR="0" lvl="1" indent="-228600" defTabSz="914400" rtl="0" eaLnBrk="1" fontAlgn="auto" latinLnBrk="0" hangingPunct="1">
              <a:spcBef>
                <a:spcPts val="500"/>
              </a:spcBef>
              <a:spcAft>
                <a:spcPts val="0"/>
              </a:spcAft>
              <a:buClrTx/>
              <a:buSzTx/>
              <a:buFont typeface="Arial" panose="020B0604020202020204" pitchFamily="34" charset="0"/>
              <a:buChar char="•"/>
              <a:tabLst/>
              <a:defRPr/>
            </a:pPr>
            <a:r>
              <a:rPr lang="en-US" sz="2000"/>
              <a:t>Keeping a file of important documents</a:t>
            </a:r>
          </a:p>
          <a:p>
            <a:pPr marL="685800" marR="0" lvl="1" indent="-228600" defTabSz="914400" rtl="0" eaLnBrk="1" fontAlgn="auto" latinLnBrk="0" hangingPunct="1">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effectLst/>
              <a:uLnTx/>
              <a:uFillTx/>
              <a:latin typeface="Aptos" panose="02110004020202020204"/>
              <a:ea typeface="+mn-ea"/>
              <a:cs typeface="+mn-cs"/>
            </a:endParaRPr>
          </a:p>
          <a:p>
            <a:pPr>
              <a:spcBef>
                <a:spcPts val="500"/>
              </a:spcBef>
              <a:defRPr/>
            </a:pPr>
            <a:r>
              <a:rPr lang="en-US" sz="2000" b="1">
                <a:latin typeface="Aptos" panose="02110004020202020204"/>
              </a:rPr>
              <a:t>ICE detainee locator:</a:t>
            </a:r>
          </a:p>
          <a:p>
            <a:pPr lvl="1">
              <a:defRPr/>
            </a:pPr>
            <a:r>
              <a:rPr lang="en-US" sz="2000"/>
              <a:t> </a:t>
            </a:r>
            <a:r>
              <a:rPr lang="en-US" sz="2000">
                <a:hlinkClick r:id="rId2"/>
              </a:rPr>
              <a:t>https://locator.ice.gov/odls/homePage.do</a:t>
            </a:r>
            <a:r>
              <a:rPr lang="en-US" sz="2000"/>
              <a:t>.  </a:t>
            </a:r>
            <a:endParaRPr kumimoji="0" lang="en-US" sz="2000" b="0" i="0" u="none" strike="noStrike" kern="1200" cap="none" spc="0" normalizeH="0" baseline="0" noProof="0">
              <a:ln>
                <a:noFill/>
              </a:ln>
              <a:effectLst/>
              <a:uLnTx/>
              <a:uFillTx/>
              <a:latin typeface="Aptos" panose="02110004020202020204"/>
              <a:ea typeface="+mn-ea"/>
              <a:cs typeface="+mn-cs"/>
            </a:endParaRPr>
          </a:p>
          <a:p>
            <a:endParaRPr lang="en-US" sz="2000"/>
          </a:p>
        </p:txBody>
      </p:sp>
      <p:sp>
        <p:nvSpPr>
          <p:cNvPr id="5" name="TextBox 4">
            <a:extLst>
              <a:ext uri="{FF2B5EF4-FFF2-40B4-BE49-F238E27FC236}">
                <a16:creationId xmlns:a16="http://schemas.microsoft.com/office/drawing/2014/main" id="{E39C9F03-142D-C8F7-1582-71C812587761}"/>
              </a:ext>
            </a:extLst>
          </p:cNvPr>
          <p:cNvSpPr txBox="1"/>
          <p:nvPr/>
        </p:nvSpPr>
        <p:spPr>
          <a:xfrm>
            <a:off x="4037826" y="6670260"/>
            <a:ext cx="815338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35195537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3B24B1E-77C3-0617-D796-031595683CD3}"/>
            </a:ext>
          </a:extLst>
        </p:cNvPr>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2BD986E8-46EC-BD12-97C0-0B74101AD3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9" name="Rectangle 18">
            <a:extLst>
              <a:ext uri="{FF2B5EF4-FFF2-40B4-BE49-F238E27FC236}">
                <a16:creationId xmlns:a16="http://schemas.microsoft.com/office/drawing/2014/main" id="{56922C68-47E3-8EF7-941C-1F8FAAA096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21" name="Group 20">
            <a:extLst>
              <a:ext uri="{FF2B5EF4-FFF2-40B4-BE49-F238E27FC236}">
                <a16:creationId xmlns:a16="http://schemas.microsoft.com/office/drawing/2014/main" id="{E2DBC246-FE32-41A5-3571-AD3FB26AF2B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137" y="0"/>
            <a:ext cx="5646974" cy="6483075"/>
            <a:chOff x="-19221" y="0"/>
            <a:chExt cx="5646974" cy="6483075"/>
          </a:xfrm>
        </p:grpSpPr>
        <p:sp>
          <p:nvSpPr>
            <p:cNvPr id="22" name="Freeform: Shape 21">
              <a:extLst>
                <a:ext uri="{FF2B5EF4-FFF2-40B4-BE49-F238E27FC236}">
                  <a16:creationId xmlns:a16="http://schemas.microsoft.com/office/drawing/2014/main" id="{F1CD75AD-38A4-0F73-EA71-826CEC1172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116610"/>
              <a:ext cx="5535001" cy="6250127"/>
            </a:xfrm>
            <a:custGeom>
              <a:avLst/>
              <a:gdLst>
                <a:gd name="connsiteX0" fmla="*/ 2510242 w 5535001"/>
                <a:gd name="connsiteY0" fmla="*/ 174 h 6250127"/>
                <a:gd name="connsiteX1" fmla="*/ 2550551 w 5535001"/>
                <a:gd name="connsiteY1" fmla="*/ 510 h 6250127"/>
                <a:gd name="connsiteX2" fmla="*/ 2629490 w 5535001"/>
                <a:gd name="connsiteY2" fmla="*/ 3757 h 6250127"/>
                <a:gd name="connsiteX3" fmla="*/ 2708317 w 5535001"/>
                <a:gd name="connsiteY3" fmla="*/ 7229 h 6250127"/>
                <a:gd name="connsiteX4" fmla="*/ 2787256 w 5535001"/>
                <a:gd name="connsiteY4" fmla="*/ 14619 h 6250127"/>
                <a:gd name="connsiteX5" fmla="*/ 3408467 w 5535001"/>
                <a:gd name="connsiteY5" fmla="*/ 145064 h 6250127"/>
                <a:gd name="connsiteX6" fmla="*/ 3557723 w 5535001"/>
                <a:gd name="connsiteY6" fmla="*/ 199593 h 6250127"/>
                <a:gd name="connsiteX7" fmla="*/ 3594337 w 5535001"/>
                <a:gd name="connsiteY7" fmla="*/ 214597 h 6250127"/>
                <a:gd name="connsiteX8" fmla="*/ 3630616 w 5535001"/>
                <a:gd name="connsiteY8" fmla="*/ 230385 h 6250127"/>
                <a:gd name="connsiteX9" fmla="*/ 3703172 w 5535001"/>
                <a:gd name="connsiteY9" fmla="*/ 262073 h 6250127"/>
                <a:gd name="connsiteX10" fmla="*/ 3739003 w 5535001"/>
                <a:gd name="connsiteY10" fmla="*/ 278756 h 6250127"/>
                <a:gd name="connsiteX11" fmla="*/ 3756806 w 5535001"/>
                <a:gd name="connsiteY11" fmla="*/ 287266 h 6250127"/>
                <a:gd name="connsiteX12" fmla="*/ 3773714 w 5535001"/>
                <a:gd name="connsiteY12" fmla="*/ 297567 h 6250127"/>
                <a:gd name="connsiteX13" fmla="*/ 3840784 w 5535001"/>
                <a:gd name="connsiteY13" fmla="*/ 339332 h 6250127"/>
                <a:gd name="connsiteX14" fmla="*/ 3873927 w 5535001"/>
                <a:gd name="connsiteY14" fmla="*/ 360495 h 6250127"/>
                <a:gd name="connsiteX15" fmla="*/ 3906062 w 5535001"/>
                <a:gd name="connsiteY15" fmla="*/ 383001 h 6250127"/>
                <a:gd name="connsiteX16" fmla="*/ 3969662 w 5535001"/>
                <a:gd name="connsiteY16" fmla="*/ 428572 h 6250127"/>
                <a:gd name="connsiteX17" fmla="*/ 4423029 w 5535001"/>
                <a:gd name="connsiteY17" fmla="*/ 837600 h 6250127"/>
                <a:gd name="connsiteX18" fmla="*/ 4474647 w 5535001"/>
                <a:gd name="connsiteY18" fmla="*/ 891569 h 6250127"/>
                <a:gd name="connsiteX19" fmla="*/ 4524250 w 5535001"/>
                <a:gd name="connsiteY19" fmla="*/ 946883 h 6250127"/>
                <a:gd name="connsiteX20" fmla="*/ 4573965 w 5535001"/>
                <a:gd name="connsiteY20" fmla="*/ 1001748 h 6250127"/>
                <a:gd name="connsiteX21" fmla="*/ 4622224 w 5535001"/>
                <a:gd name="connsiteY21" fmla="*/ 1057509 h 6250127"/>
                <a:gd name="connsiteX22" fmla="*/ 4717510 w 5535001"/>
                <a:gd name="connsiteY22" fmla="*/ 1169143 h 6250127"/>
                <a:gd name="connsiteX23" fmla="*/ 4764986 w 5535001"/>
                <a:gd name="connsiteY23" fmla="*/ 1224681 h 6250127"/>
                <a:gd name="connsiteX24" fmla="*/ 4813021 w 5535001"/>
                <a:gd name="connsiteY24" fmla="*/ 1279994 h 6250127"/>
                <a:gd name="connsiteX25" fmla="*/ 5001915 w 5535001"/>
                <a:gd name="connsiteY25" fmla="*/ 1506846 h 6250127"/>
                <a:gd name="connsiteX26" fmla="*/ 5170542 w 5535001"/>
                <a:gd name="connsiteY26" fmla="*/ 1751165 h 6250127"/>
                <a:gd name="connsiteX27" fmla="*/ 5428969 w 5535001"/>
                <a:gd name="connsiteY27" fmla="*/ 2293660 h 6250127"/>
                <a:gd name="connsiteX28" fmla="*/ 5534893 w 5535001"/>
                <a:gd name="connsiteY28" fmla="*/ 2899307 h 6250127"/>
                <a:gd name="connsiteX29" fmla="*/ 5508804 w 5535001"/>
                <a:gd name="connsiteY29" fmla="*/ 3211144 h 6250127"/>
                <a:gd name="connsiteX30" fmla="*/ 5426282 w 5535001"/>
                <a:gd name="connsiteY30" fmla="*/ 3513352 h 6250127"/>
                <a:gd name="connsiteX31" fmla="*/ 5248250 w 5535001"/>
                <a:gd name="connsiteY31" fmla="*/ 4030542 h 6250127"/>
                <a:gd name="connsiteX32" fmla="*/ 5208612 w 5535001"/>
                <a:gd name="connsiteY32" fmla="*/ 4161771 h 6250127"/>
                <a:gd name="connsiteX33" fmla="*/ 5170318 w 5535001"/>
                <a:gd name="connsiteY33" fmla="*/ 4294680 h 6250127"/>
                <a:gd name="connsiteX34" fmla="*/ 5132248 w 5535001"/>
                <a:gd name="connsiteY34" fmla="*/ 4430164 h 6250127"/>
                <a:gd name="connsiteX35" fmla="*/ 5112765 w 5535001"/>
                <a:gd name="connsiteY35" fmla="*/ 4498914 h 6250127"/>
                <a:gd name="connsiteX36" fmla="*/ 5091715 w 5535001"/>
                <a:gd name="connsiteY36" fmla="*/ 4569119 h 6250127"/>
                <a:gd name="connsiteX37" fmla="*/ 5068985 w 5535001"/>
                <a:gd name="connsiteY37" fmla="*/ 4640220 h 6250127"/>
                <a:gd name="connsiteX38" fmla="*/ 5043904 w 5535001"/>
                <a:gd name="connsiteY38" fmla="*/ 4712105 h 6250127"/>
                <a:gd name="connsiteX39" fmla="*/ 5015799 w 5535001"/>
                <a:gd name="connsiteY39" fmla="*/ 4784438 h 6250127"/>
                <a:gd name="connsiteX40" fmla="*/ 4982880 w 5535001"/>
                <a:gd name="connsiteY40" fmla="*/ 4856435 h 6250127"/>
                <a:gd name="connsiteX41" fmla="*/ 4817276 w 5535001"/>
                <a:gd name="connsiteY41" fmla="*/ 5125275 h 6250127"/>
                <a:gd name="connsiteX42" fmla="*/ 4618753 w 5535001"/>
                <a:gd name="connsiteY42" fmla="*/ 5355374 h 6250127"/>
                <a:gd name="connsiteX43" fmla="*/ 4566575 w 5535001"/>
                <a:gd name="connsiteY43" fmla="*/ 5408560 h 6250127"/>
                <a:gd name="connsiteX44" fmla="*/ 4513837 w 5535001"/>
                <a:gd name="connsiteY44" fmla="*/ 5461186 h 6250127"/>
                <a:gd name="connsiteX45" fmla="*/ 4459531 w 5535001"/>
                <a:gd name="connsiteY45" fmla="*/ 5512580 h 6250127"/>
                <a:gd name="connsiteX46" fmla="*/ 4404554 w 5535001"/>
                <a:gd name="connsiteY46" fmla="*/ 5563526 h 6250127"/>
                <a:gd name="connsiteX47" fmla="*/ 4348009 w 5535001"/>
                <a:gd name="connsiteY47" fmla="*/ 5613017 h 6250127"/>
                <a:gd name="connsiteX48" fmla="*/ 4290568 w 5535001"/>
                <a:gd name="connsiteY48" fmla="*/ 5661948 h 6250127"/>
                <a:gd name="connsiteX49" fmla="*/ 4276124 w 5535001"/>
                <a:gd name="connsiteY49" fmla="*/ 5674153 h 6250127"/>
                <a:gd name="connsiteX50" fmla="*/ 4261120 w 5535001"/>
                <a:gd name="connsiteY50" fmla="*/ 5685798 h 6250127"/>
                <a:gd name="connsiteX51" fmla="*/ 4231112 w 5535001"/>
                <a:gd name="connsiteY51" fmla="*/ 5708976 h 6250127"/>
                <a:gd name="connsiteX52" fmla="*/ 4170984 w 5535001"/>
                <a:gd name="connsiteY52" fmla="*/ 5755443 h 6250127"/>
                <a:gd name="connsiteX53" fmla="*/ 4046025 w 5535001"/>
                <a:gd name="connsiteY53" fmla="*/ 5843228 h 6250127"/>
                <a:gd name="connsiteX54" fmla="*/ 3915356 w 5535001"/>
                <a:gd name="connsiteY54" fmla="*/ 5923735 h 6250127"/>
                <a:gd name="connsiteX55" fmla="*/ 3346323 w 5535001"/>
                <a:gd name="connsiteY55" fmla="*/ 6158872 h 6250127"/>
                <a:gd name="connsiteX56" fmla="*/ 2743476 w 5535001"/>
                <a:gd name="connsiteY56" fmla="*/ 6247328 h 6250127"/>
                <a:gd name="connsiteX57" fmla="*/ 2668120 w 5535001"/>
                <a:gd name="connsiteY57" fmla="*/ 6249344 h 6250127"/>
                <a:gd name="connsiteX58" fmla="*/ 2630498 w 5535001"/>
                <a:gd name="connsiteY58" fmla="*/ 6250127 h 6250127"/>
                <a:gd name="connsiteX59" fmla="*/ 2592988 w 5535001"/>
                <a:gd name="connsiteY59" fmla="*/ 6249568 h 6250127"/>
                <a:gd name="connsiteX60" fmla="*/ 2518080 w 5535001"/>
                <a:gd name="connsiteY60" fmla="*/ 6247777 h 6250127"/>
                <a:gd name="connsiteX61" fmla="*/ 2442948 w 5535001"/>
                <a:gd name="connsiteY61" fmla="*/ 6244529 h 6250127"/>
                <a:gd name="connsiteX62" fmla="*/ 2291676 w 5535001"/>
                <a:gd name="connsiteY62" fmla="*/ 6232213 h 6250127"/>
                <a:gd name="connsiteX63" fmla="*/ 2141412 w 5535001"/>
                <a:gd name="connsiteY63" fmla="*/ 6212394 h 6250127"/>
                <a:gd name="connsiteX64" fmla="*/ 1992715 w 5535001"/>
                <a:gd name="connsiteY64" fmla="*/ 6184961 h 6250127"/>
                <a:gd name="connsiteX65" fmla="*/ 1845811 w 5535001"/>
                <a:gd name="connsiteY65" fmla="*/ 6151034 h 6250127"/>
                <a:gd name="connsiteX66" fmla="*/ 1701033 w 5535001"/>
                <a:gd name="connsiteY66" fmla="*/ 6110724 h 6250127"/>
                <a:gd name="connsiteX67" fmla="*/ 1629484 w 5535001"/>
                <a:gd name="connsiteY67" fmla="*/ 6088219 h 6250127"/>
                <a:gd name="connsiteX68" fmla="*/ 1558383 w 5535001"/>
                <a:gd name="connsiteY68" fmla="*/ 6064929 h 6250127"/>
                <a:gd name="connsiteX69" fmla="*/ 1011968 w 5535001"/>
                <a:gd name="connsiteY69" fmla="*/ 5828896 h 6250127"/>
                <a:gd name="connsiteX70" fmla="*/ 511237 w 5535001"/>
                <a:gd name="connsiteY70" fmla="*/ 5512356 h 6250127"/>
                <a:gd name="connsiteX71" fmla="*/ 395572 w 5535001"/>
                <a:gd name="connsiteY71" fmla="*/ 5419757 h 6250127"/>
                <a:gd name="connsiteX72" fmla="*/ 284722 w 5535001"/>
                <a:gd name="connsiteY72" fmla="*/ 5321559 h 6250127"/>
                <a:gd name="connsiteX73" fmla="*/ 257513 w 5535001"/>
                <a:gd name="connsiteY73" fmla="*/ 5296477 h 6250127"/>
                <a:gd name="connsiteX74" fmla="*/ 243853 w 5535001"/>
                <a:gd name="connsiteY74" fmla="*/ 5283937 h 6250127"/>
                <a:gd name="connsiteX75" fmla="*/ 230752 w 5535001"/>
                <a:gd name="connsiteY75" fmla="*/ 5270836 h 6250127"/>
                <a:gd name="connsiteX76" fmla="*/ 178574 w 5535001"/>
                <a:gd name="connsiteY76" fmla="*/ 5218322 h 6250127"/>
                <a:gd name="connsiteX77" fmla="*/ 126508 w 5535001"/>
                <a:gd name="connsiteY77" fmla="*/ 5165584 h 6250127"/>
                <a:gd name="connsiteX78" fmla="*/ 76345 w 5535001"/>
                <a:gd name="connsiteY78" fmla="*/ 5111167 h 6250127"/>
                <a:gd name="connsiteX79" fmla="*/ 26407 w 5535001"/>
                <a:gd name="connsiteY79" fmla="*/ 5056413 h 6250127"/>
                <a:gd name="connsiteX80" fmla="*/ 0 w 5535001"/>
                <a:gd name="connsiteY80" fmla="*/ 5024776 h 6250127"/>
                <a:gd name="connsiteX81" fmla="*/ 0 w 5535001"/>
                <a:gd name="connsiteY81" fmla="*/ 4492798 h 6250127"/>
                <a:gd name="connsiteX82" fmla="*/ 28534 w 5535001"/>
                <a:gd name="connsiteY82" fmla="*/ 4537879 h 6250127"/>
                <a:gd name="connsiteX83" fmla="*/ 66604 w 5535001"/>
                <a:gd name="connsiteY83" fmla="*/ 4592745 h 6250127"/>
                <a:gd name="connsiteX84" fmla="*/ 104114 w 5535001"/>
                <a:gd name="connsiteY84" fmla="*/ 4647834 h 6250127"/>
                <a:gd name="connsiteX85" fmla="*/ 143751 w 5535001"/>
                <a:gd name="connsiteY85" fmla="*/ 4701580 h 6250127"/>
                <a:gd name="connsiteX86" fmla="*/ 182717 w 5535001"/>
                <a:gd name="connsiteY86" fmla="*/ 4755773 h 6250127"/>
                <a:gd name="connsiteX87" fmla="*/ 223810 w 5535001"/>
                <a:gd name="connsiteY87" fmla="*/ 4808399 h 6250127"/>
                <a:gd name="connsiteX88" fmla="*/ 264679 w 5535001"/>
                <a:gd name="connsiteY88" fmla="*/ 4861249 h 6250127"/>
                <a:gd name="connsiteX89" fmla="*/ 307788 w 5535001"/>
                <a:gd name="connsiteY89" fmla="*/ 4912420 h 6250127"/>
                <a:gd name="connsiteX90" fmla="*/ 351232 w 5535001"/>
                <a:gd name="connsiteY90" fmla="*/ 4963254 h 6250127"/>
                <a:gd name="connsiteX91" fmla="*/ 397028 w 5535001"/>
                <a:gd name="connsiteY91" fmla="*/ 5012185 h 6250127"/>
                <a:gd name="connsiteX92" fmla="*/ 443496 w 5535001"/>
                <a:gd name="connsiteY92" fmla="*/ 5060444 h 6250127"/>
                <a:gd name="connsiteX93" fmla="*/ 455140 w 5535001"/>
                <a:gd name="connsiteY93" fmla="*/ 5072537 h 6250127"/>
                <a:gd name="connsiteX94" fmla="*/ 467345 w 5535001"/>
                <a:gd name="connsiteY94" fmla="*/ 5083958 h 6250127"/>
                <a:gd name="connsiteX95" fmla="*/ 491755 w 5535001"/>
                <a:gd name="connsiteY95" fmla="*/ 5106912 h 6250127"/>
                <a:gd name="connsiteX96" fmla="*/ 540686 w 5535001"/>
                <a:gd name="connsiteY96" fmla="*/ 5152819 h 6250127"/>
                <a:gd name="connsiteX97" fmla="*/ 552890 w 5535001"/>
                <a:gd name="connsiteY97" fmla="*/ 5164353 h 6250127"/>
                <a:gd name="connsiteX98" fmla="*/ 565655 w 5535001"/>
                <a:gd name="connsiteY98" fmla="*/ 5175214 h 6250127"/>
                <a:gd name="connsiteX99" fmla="*/ 591072 w 5535001"/>
                <a:gd name="connsiteY99" fmla="*/ 5197048 h 6250127"/>
                <a:gd name="connsiteX100" fmla="*/ 694197 w 5535001"/>
                <a:gd name="connsiteY100" fmla="*/ 5283041 h 6250127"/>
                <a:gd name="connsiteX101" fmla="*/ 1146221 w 5535001"/>
                <a:gd name="connsiteY101" fmla="*/ 5573716 h 6250127"/>
                <a:gd name="connsiteX102" fmla="*/ 1650982 w 5535001"/>
                <a:gd name="connsiteY102" fmla="*/ 5758130 h 6250127"/>
                <a:gd name="connsiteX103" fmla="*/ 1716485 w 5535001"/>
                <a:gd name="connsiteY103" fmla="*/ 5772798 h 6250127"/>
                <a:gd name="connsiteX104" fmla="*/ 1782211 w 5535001"/>
                <a:gd name="connsiteY104" fmla="*/ 5786235 h 6250127"/>
                <a:gd name="connsiteX105" fmla="*/ 1848386 w 5535001"/>
                <a:gd name="connsiteY105" fmla="*/ 5796984 h 6250127"/>
                <a:gd name="connsiteX106" fmla="*/ 1881417 w 5535001"/>
                <a:gd name="connsiteY106" fmla="*/ 5802359 h 6250127"/>
                <a:gd name="connsiteX107" fmla="*/ 1914560 w 5535001"/>
                <a:gd name="connsiteY107" fmla="*/ 5807061 h 6250127"/>
                <a:gd name="connsiteX108" fmla="*/ 2047469 w 5535001"/>
                <a:gd name="connsiteY108" fmla="*/ 5821282 h 6250127"/>
                <a:gd name="connsiteX109" fmla="*/ 2180601 w 5535001"/>
                <a:gd name="connsiteY109" fmla="*/ 5828896 h 6250127"/>
                <a:gd name="connsiteX110" fmla="*/ 2313622 w 5535001"/>
                <a:gd name="connsiteY110" fmla="*/ 5830463 h 6250127"/>
                <a:gd name="connsiteX111" fmla="*/ 2380021 w 5535001"/>
                <a:gd name="connsiteY111" fmla="*/ 5828448 h 6250127"/>
                <a:gd name="connsiteX112" fmla="*/ 2446195 w 5535001"/>
                <a:gd name="connsiteY112" fmla="*/ 5826433 h 6250127"/>
                <a:gd name="connsiteX113" fmla="*/ 2513041 w 5535001"/>
                <a:gd name="connsiteY113" fmla="*/ 5822737 h 6250127"/>
                <a:gd name="connsiteX114" fmla="*/ 2580111 w 5535001"/>
                <a:gd name="connsiteY114" fmla="*/ 5818258 h 6250127"/>
                <a:gd name="connsiteX115" fmla="*/ 2613590 w 5535001"/>
                <a:gd name="connsiteY115" fmla="*/ 5816355 h 6250127"/>
                <a:gd name="connsiteX116" fmla="*/ 2646845 w 5535001"/>
                <a:gd name="connsiteY116" fmla="*/ 5813108 h 6250127"/>
                <a:gd name="connsiteX117" fmla="*/ 2713244 w 5535001"/>
                <a:gd name="connsiteY117" fmla="*/ 5806838 h 6250127"/>
                <a:gd name="connsiteX118" fmla="*/ 3230882 w 5535001"/>
                <a:gd name="connsiteY118" fmla="*/ 5721292 h 6250127"/>
                <a:gd name="connsiteX119" fmla="*/ 3720416 w 5535001"/>
                <a:gd name="connsiteY119" fmla="*/ 5556472 h 6250127"/>
                <a:gd name="connsiteX120" fmla="*/ 3837425 w 5535001"/>
                <a:gd name="connsiteY120" fmla="*/ 5499927 h 6250127"/>
                <a:gd name="connsiteX121" fmla="*/ 3951634 w 5535001"/>
                <a:gd name="connsiteY121" fmla="*/ 5436552 h 6250127"/>
                <a:gd name="connsiteX122" fmla="*/ 4007284 w 5535001"/>
                <a:gd name="connsiteY122" fmla="*/ 5401841 h 6250127"/>
                <a:gd name="connsiteX123" fmla="*/ 4035164 w 5535001"/>
                <a:gd name="connsiteY123" fmla="*/ 5384374 h 6250127"/>
                <a:gd name="connsiteX124" fmla="*/ 4049049 w 5535001"/>
                <a:gd name="connsiteY124" fmla="*/ 5375640 h 6250127"/>
                <a:gd name="connsiteX125" fmla="*/ 4062485 w 5535001"/>
                <a:gd name="connsiteY125" fmla="*/ 5366123 h 6250127"/>
                <a:gd name="connsiteX126" fmla="*/ 4116567 w 5535001"/>
                <a:gd name="connsiteY126" fmla="*/ 5328277 h 6250127"/>
                <a:gd name="connsiteX127" fmla="*/ 4169976 w 5535001"/>
                <a:gd name="connsiteY127" fmla="*/ 5289199 h 6250127"/>
                <a:gd name="connsiteX128" fmla="*/ 4222042 w 5535001"/>
                <a:gd name="connsiteY128" fmla="*/ 5247994 h 6250127"/>
                <a:gd name="connsiteX129" fmla="*/ 4273213 w 5535001"/>
                <a:gd name="connsiteY129" fmla="*/ 5205558 h 6250127"/>
                <a:gd name="connsiteX130" fmla="*/ 4323151 w 5535001"/>
                <a:gd name="connsiteY130" fmla="*/ 5161329 h 6250127"/>
                <a:gd name="connsiteX131" fmla="*/ 4371971 w 5535001"/>
                <a:gd name="connsiteY131" fmla="*/ 5116093 h 6250127"/>
                <a:gd name="connsiteX132" fmla="*/ 4546868 w 5535001"/>
                <a:gd name="connsiteY132" fmla="*/ 4924400 h 6250127"/>
                <a:gd name="connsiteX133" fmla="*/ 4675634 w 5535001"/>
                <a:gd name="connsiteY133" fmla="*/ 4715352 h 6250127"/>
                <a:gd name="connsiteX134" fmla="*/ 4700155 w 5535001"/>
                <a:gd name="connsiteY134" fmla="*/ 4659255 h 6250127"/>
                <a:gd name="connsiteX135" fmla="*/ 4721206 w 5535001"/>
                <a:gd name="connsiteY135" fmla="*/ 4600135 h 6250127"/>
                <a:gd name="connsiteX136" fmla="*/ 4740465 w 5535001"/>
                <a:gd name="connsiteY136" fmla="*/ 4538887 h 6250127"/>
                <a:gd name="connsiteX137" fmla="*/ 4758492 w 5535001"/>
                <a:gd name="connsiteY137" fmla="*/ 4475848 h 6250127"/>
                <a:gd name="connsiteX138" fmla="*/ 4891288 w 5535001"/>
                <a:gd name="connsiteY138" fmla="*/ 3930329 h 6250127"/>
                <a:gd name="connsiteX139" fmla="*/ 5066298 w 5535001"/>
                <a:gd name="connsiteY139" fmla="*/ 3382235 h 6250127"/>
                <a:gd name="connsiteX140" fmla="*/ 5156994 w 5535001"/>
                <a:gd name="connsiteY140" fmla="*/ 2898635 h 6250127"/>
                <a:gd name="connsiteX141" fmla="*/ 5083317 w 5535001"/>
                <a:gd name="connsiteY141" fmla="*/ 2402047 h 6250127"/>
                <a:gd name="connsiteX142" fmla="*/ 4871022 w 5535001"/>
                <a:gd name="connsiteY142" fmla="*/ 1926958 h 6250127"/>
                <a:gd name="connsiteX143" fmla="*/ 4727028 w 5535001"/>
                <a:gd name="connsiteY143" fmla="*/ 1703577 h 6250127"/>
                <a:gd name="connsiteX144" fmla="*/ 4563776 w 5535001"/>
                <a:gd name="connsiteY144" fmla="*/ 1490834 h 6250127"/>
                <a:gd name="connsiteX145" fmla="*/ 4370291 w 5535001"/>
                <a:gd name="connsiteY145" fmla="*/ 1300596 h 6250127"/>
                <a:gd name="connsiteX146" fmla="*/ 4266046 w 5535001"/>
                <a:gd name="connsiteY146" fmla="*/ 1214491 h 6250127"/>
                <a:gd name="connsiteX147" fmla="*/ 4212973 w 5535001"/>
                <a:gd name="connsiteY147" fmla="*/ 1173062 h 6250127"/>
                <a:gd name="connsiteX148" fmla="*/ 4157995 w 5535001"/>
                <a:gd name="connsiteY148" fmla="*/ 1134545 h 6250127"/>
                <a:gd name="connsiteX149" fmla="*/ 3697126 w 5535001"/>
                <a:gd name="connsiteY149" fmla="*/ 881044 h 6250127"/>
                <a:gd name="connsiteX150" fmla="*/ 3637670 w 5535001"/>
                <a:gd name="connsiteY150" fmla="*/ 856747 h 6250127"/>
                <a:gd name="connsiteX151" fmla="*/ 3608222 w 5535001"/>
                <a:gd name="connsiteY151" fmla="*/ 844318 h 6250127"/>
                <a:gd name="connsiteX152" fmla="*/ 3578214 w 5535001"/>
                <a:gd name="connsiteY152" fmla="*/ 833457 h 6250127"/>
                <a:gd name="connsiteX153" fmla="*/ 3518309 w 5535001"/>
                <a:gd name="connsiteY153" fmla="*/ 812294 h 6250127"/>
                <a:gd name="connsiteX154" fmla="*/ 3503417 w 5535001"/>
                <a:gd name="connsiteY154" fmla="*/ 806920 h 6250127"/>
                <a:gd name="connsiteX155" fmla="*/ 3489533 w 5535001"/>
                <a:gd name="connsiteY155" fmla="*/ 799642 h 6250127"/>
                <a:gd name="connsiteX156" fmla="*/ 3460869 w 5535001"/>
                <a:gd name="connsiteY156" fmla="*/ 787101 h 6250127"/>
                <a:gd name="connsiteX157" fmla="*/ 3402980 w 5535001"/>
                <a:gd name="connsiteY157" fmla="*/ 763475 h 6250127"/>
                <a:gd name="connsiteX158" fmla="*/ 3374092 w 5535001"/>
                <a:gd name="connsiteY158" fmla="*/ 751606 h 6250127"/>
                <a:gd name="connsiteX159" fmla="*/ 3344980 w 5535001"/>
                <a:gd name="connsiteY159" fmla="*/ 740409 h 6250127"/>
                <a:gd name="connsiteX160" fmla="*/ 3226627 w 5535001"/>
                <a:gd name="connsiteY160" fmla="*/ 700772 h 6250127"/>
                <a:gd name="connsiteX161" fmla="*/ 2735750 w 5535001"/>
                <a:gd name="connsiteY161" fmla="*/ 614667 h 6250127"/>
                <a:gd name="connsiteX162" fmla="*/ 2673158 w 5535001"/>
                <a:gd name="connsiteY162" fmla="*/ 610412 h 6250127"/>
                <a:gd name="connsiteX163" fmla="*/ 2610119 w 5535001"/>
                <a:gd name="connsiteY163" fmla="*/ 609628 h 6250127"/>
                <a:gd name="connsiteX164" fmla="*/ 2547080 w 5535001"/>
                <a:gd name="connsiteY164" fmla="*/ 608620 h 6250127"/>
                <a:gd name="connsiteX165" fmla="*/ 2516400 w 5535001"/>
                <a:gd name="connsiteY165" fmla="*/ 608844 h 6250127"/>
                <a:gd name="connsiteX166" fmla="*/ 2486280 w 5535001"/>
                <a:gd name="connsiteY166" fmla="*/ 609740 h 6250127"/>
                <a:gd name="connsiteX167" fmla="*/ 2426376 w 5535001"/>
                <a:gd name="connsiteY167" fmla="*/ 613099 h 6250127"/>
                <a:gd name="connsiteX168" fmla="*/ 2366920 w 5535001"/>
                <a:gd name="connsiteY168" fmla="*/ 618474 h 6250127"/>
                <a:gd name="connsiteX169" fmla="*/ 2337248 w 5535001"/>
                <a:gd name="connsiteY169" fmla="*/ 621497 h 6250127"/>
                <a:gd name="connsiteX170" fmla="*/ 2307800 w 5535001"/>
                <a:gd name="connsiteY170" fmla="*/ 625528 h 6250127"/>
                <a:gd name="connsiteX171" fmla="*/ 2278351 w 5535001"/>
                <a:gd name="connsiteY171" fmla="*/ 629559 h 6250127"/>
                <a:gd name="connsiteX172" fmla="*/ 2249127 w 5535001"/>
                <a:gd name="connsiteY172" fmla="*/ 634710 h 6250127"/>
                <a:gd name="connsiteX173" fmla="*/ 1796096 w 5535001"/>
                <a:gd name="connsiteY173" fmla="*/ 781726 h 6250127"/>
                <a:gd name="connsiteX174" fmla="*/ 1370833 w 5535001"/>
                <a:gd name="connsiteY174" fmla="*/ 1048663 h 6250127"/>
                <a:gd name="connsiteX175" fmla="*/ 959790 w 5535001"/>
                <a:gd name="connsiteY175" fmla="*/ 1390844 h 6250127"/>
                <a:gd name="connsiteX176" fmla="*/ 749062 w 5535001"/>
                <a:gd name="connsiteY176" fmla="*/ 1577611 h 6250127"/>
                <a:gd name="connsiteX177" fmla="*/ 524786 w 5535001"/>
                <a:gd name="connsiteY177" fmla="*/ 1763145 h 6250127"/>
                <a:gd name="connsiteX178" fmla="*/ 84071 w 5535001"/>
                <a:gd name="connsiteY178" fmla="*/ 2098496 h 6250127"/>
                <a:gd name="connsiteX179" fmla="*/ 0 w 5535001"/>
                <a:gd name="connsiteY179" fmla="*/ 2168094 h 6250127"/>
                <a:gd name="connsiteX180" fmla="*/ 0 w 5535001"/>
                <a:gd name="connsiteY180" fmla="*/ 1576676 h 6250127"/>
                <a:gd name="connsiteX181" fmla="*/ 174655 w 5535001"/>
                <a:gd name="connsiteY181" fmla="*/ 1387597 h 6250127"/>
                <a:gd name="connsiteX182" fmla="*/ 363661 w 5535001"/>
                <a:gd name="connsiteY182" fmla="*/ 1188626 h 6250127"/>
                <a:gd name="connsiteX183" fmla="*/ 458052 w 5535001"/>
                <a:gd name="connsiteY183" fmla="*/ 1086397 h 6250127"/>
                <a:gd name="connsiteX184" fmla="*/ 557257 w 5535001"/>
                <a:gd name="connsiteY184" fmla="*/ 981593 h 6250127"/>
                <a:gd name="connsiteX185" fmla="*/ 994165 w 5535001"/>
                <a:gd name="connsiteY185" fmla="*/ 578389 h 6250127"/>
                <a:gd name="connsiteX186" fmla="*/ 1520873 w 5535001"/>
                <a:gd name="connsiteY186" fmla="*/ 237215 h 6250127"/>
                <a:gd name="connsiteX187" fmla="*/ 2141748 w 5535001"/>
                <a:gd name="connsiteY187" fmla="*/ 31190 h 6250127"/>
                <a:gd name="connsiteX188" fmla="*/ 2182505 w 5535001"/>
                <a:gd name="connsiteY188" fmla="*/ 24360 h 6250127"/>
                <a:gd name="connsiteX189" fmla="*/ 2223374 w 5535001"/>
                <a:gd name="connsiteY189" fmla="*/ 18873 h 6250127"/>
                <a:gd name="connsiteX190" fmla="*/ 2264355 w 5535001"/>
                <a:gd name="connsiteY190" fmla="*/ 13611 h 6250127"/>
                <a:gd name="connsiteX191" fmla="*/ 2305336 w 5535001"/>
                <a:gd name="connsiteY191" fmla="*/ 9580 h 6250127"/>
                <a:gd name="connsiteX192" fmla="*/ 2387410 w 5535001"/>
                <a:gd name="connsiteY192" fmla="*/ 3645 h 6250127"/>
                <a:gd name="connsiteX193" fmla="*/ 2469373 w 5535001"/>
                <a:gd name="connsiteY193" fmla="*/ 622 h 625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535001" h="6250127">
                  <a:moveTo>
                    <a:pt x="2510242" y="174"/>
                  </a:moveTo>
                  <a:cubicBezTo>
                    <a:pt x="2523902" y="-50"/>
                    <a:pt x="2537562" y="-162"/>
                    <a:pt x="2550551" y="510"/>
                  </a:cubicBezTo>
                  <a:lnTo>
                    <a:pt x="2629490" y="3757"/>
                  </a:lnTo>
                  <a:lnTo>
                    <a:pt x="2708317" y="7229"/>
                  </a:lnTo>
                  <a:cubicBezTo>
                    <a:pt x="2734630" y="8572"/>
                    <a:pt x="2760943" y="12155"/>
                    <a:pt x="2787256" y="14619"/>
                  </a:cubicBezTo>
                  <a:cubicBezTo>
                    <a:pt x="2997536" y="34885"/>
                    <a:pt x="3207144" y="77994"/>
                    <a:pt x="3408467" y="145064"/>
                  </a:cubicBezTo>
                  <a:lnTo>
                    <a:pt x="3557723" y="199593"/>
                  </a:lnTo>
                  <a:cubicBezTo>
                    <a:pt x="3570264" y="203848"/>
                    <a:pt x="3582245" y="209447"/>
                    <a:pt x="3594337" y="214597"/>
                  </a:cubicBezTo>
                  <a:lnTo>
                    <a:pt x="3630616" y="230385"/>
                  </a:lnTo>
                  <a:lnTo>
                    <a:pt x="3703172" y="262073"/>
                  </a:lnTo>
                  <a:cubicBezTo>
                    <a:pt x="3715265" y="267335"/>
                    <a:pt x="3727358" y="272598"/>
                    <a:pt x="3739003" y="278756"/>
                  </a:cubicBezTo>
                  <a:cubicBezTo>
                    <a:pt x="3744937" y="281667"/>
                    <a:pt x="3750984" y="284131"/>
                    <a:pt x="3756806" y="287266"/>
                  </a:cubicBezTo>
                  <a:cubicBezTo>
                    <a:pt x="3762517" y="290513"/>
                    <a:pt x="3768115" y="294208"/>
                    <a:pt x="3773714" y="297567"/>
                  </a:cubicBezTo>
                  <a:lnTo>
                    <a:pt x="3840784" y="339332"/>
                  </a:lnTo>
                  <a:cubicBezTo>
                    <a:pt x="3851869" y="346386"/>
                    <a:pt x="3863290" y="352881"/>
                    <a:pt x="3873927" y="360495"/>
                  </a:cubicBezTo>
                  <a:lnTo>
                    <a:pt x="3906062" y="383001"/>
                  </a:lnTo>
                  <a:lnTo>
                    <a:pt x="3969662" y="428572"/>
                  </a:lnTo>
                  <a:cubicBezTo>
                    <a:pt x="4137281" y="552188"/>
                    <a:pt x="4285417" y="693270"/>
                    <a:pt x="4423029" y="837600"/>
                  </a:cubicBezTo>
                  <a:cubicBezTo>
                    <a:pt x="4440160" y="855739"/>
                    <a:pt x="4457404" y="873766"/>
                    <a:pt x="4474647" y="891569"/>
                  </a:cubicBezTo>
                  <a:lnTo>
                    <a:pt x="4524250" y="946883"/>
                  </a:lnTo>
                  <a:lnTo>
                    <a:pt x="4573965" y="1001748"/>
                  </a:lnTo>
                  <a:cubicBezTo>
                    <a:pt x="4590760" y="1019887"/>
                    <a:pt x="4605988" y="1039146"/>
                    <a:pt x="4622224" y="1057509"/>
                  </a:cubicBezTo>
                  <a:cubicBezTo>
                    <a:pt x="4653911" y="1094907"/>
                    <a:pt x="4686831" y="1131409"/>
                    <a:pt x="4717510" y="1169143"/>
                  </a:cubicBezTo>
                  <a:cubicBezTo>
                    <a:pt x="4733186" y="1187730"/>
                    <a:pt x="4748862" y="1206430"/>
                    <a:pt x="4764986" y="1224681"/>
                  </a:cubicBezTo>
                  <a:cubicBezTo>
                    <a:pt x="4780886" y="1243044"/>
                    <a:pt x="4797233" y="1261071"/>
                    <a:pt x="4813021" y="1279994"/>
                  </a:cubicBezTo>
                  <a:cubicBezTo>
                    <a:pt x="4877292" y="1354230"/>
                    <a:pt x="4941339" y="1428914"/>
                    <a:pt x="5001915" y="1506846"/>
                  </a:cubicBezTo>
                  <a:cubicBezTo>
                    <a:pt x="5062603" y="1584665"/>
                    <a:pt x="5118252" y="1666739"/>
                    <a:pt x="5170542" y="1751165"/>
                  </a:cubicBezTo>
                  <a:cubicBezTo>
                    <a:pt x="5274898" y="1920240"/>
                    <a:pt x="5363579" y="2101295"/>
                    <a:pt x="5428969" y="2293660"/>
                  </a:cubicBezTo>
                  <a:cubicBezTo>
                    <a:pt x="5494136" y="2485801"/>
                    <a:pt x="5533102" y="2690819"/>
                    <a:pt x="5534893" y="2899307"/>
                  </a:cubicBezTo>
                  <a:cubicBezTo>
                    <a:pt x="5536124" y="3003439"/>
                    <a:pt x="5526831" y="3108132"/>
                    <a:pt x="5508804" y="3211144"/>
                  </a:cubicBezTo>
                  <a:cubicBezTo>
                    <a:pt x="5490441" y="3314157"/>
                    <a:pt x="5462336" y="3415490"/>
                    <a:pt x="5426282" y="3513352"/>
                  </a:cubicBezTo>
                  <a:cubicBezTo>
                    <a:pt x="5363355" y="3684890"/>
                    <a:pt x="5302219" y="3856428"/>
                    <a:pt x="5248250" y="4030542"/>
                  </a:cubicBezTo>
                  <a:lnTo>
                    <a:pt x="5208612" y="4161771"/>
                  </a:lnTo>
                  <a:lnTo>
                    <a:pt x="5170318" y="4294680"/>
                  </a:lnTo>
                  <a:lnTo>
                    <a:pt x="5132248" y="4430164"/>
                  </a:lnTo>
                  <a:lnTo>
                    <a:pt x="5112765" y="4498914"/>
                  </a:lnTo>
                  <a:lnTo>
                    <a:pt x="5091715" y="4569119"/>
                  </a:lnTo>
                  <a:cubicBezTo>
                    <a:pt x="5085221" y="4592297"/>
                    <a:pt x="5076823" y="4616482"/>
                    <a:pt x="5068985" y="4640220"/>
                  </a:cubicBezTo>
                  <a:cubicBezTo>
                    <a:pt x="5060699" y="4664182"/>
                    <a:pt x="5053981" y="4687807"/>
                    <a:pt x="5043904" y="4712105"/>
                  </a:cubicBezTo>
                  <a:lnTo>
                    <a:pt x="5015799" y="4784438"/>
                  </a:lnTo>
                  <a:cubicBezTo>
                    <a:pt x="5005274" y="4808511"/>
                    <a:pt x="4993965" y="4832473"/>
                    <a:pt x="4982880" y="4856435"/>
                  </a:cubicBezTo>
                  <a:cubicBezTo>
                    <a:pt x="4936524" y="4951273"/>
                    <a:pt x="4881099" y="5044096"/>
                    <a:pt x="4817276" y="5125275"/>
                  </a:cubicBezTo>
                  <a:cubicBezTo>
                    <a:pt x="4755244" y="5208805"/>
                    <a:pt x="4686943" y="5282817"/>
                    <a:pt x="4618753" y="5355374"/>
                  </a:cubicBezTo>
                  <a:cubicBezTo>
                    <a:pt x="4602069" y="5374073"/>
                    <a:pt x="4584154" y="5391092"/>
                    <a:pt x="4566575" y="5408560"/>
                  </a:cubicBezTo>
                  <a:lnTo>
                    <a:pt x="4513837" y="5461186"/>
                  </a:lnTo>
                  <a:cubicBezTo>
                    <a:pt x="4496593" y="5479101"/>
                    <a:pt x="4477894" y="5495560"/>
                    <a:pt x="4459531" y="5512580"/>
                  </a:cubicBezTo>
                  <a:lnTo>
                    <a:pt x="4404554" y="5563526"/>
                  </a:lnTo>
                  <a:cubicBezTo>
                    <a:pt x="4386527" y="5580770"/>
                    <a:pt x="4366932" y="5596670"/>
                    <a:pt x="4348009" y="5613017"/>
                  </a:cubicBezTo>
                  <a:lnTo>
                    <a:pt x="4290568" y="5661948"/>
                  </a:lnTo>
                  <a:lnTo>
                    <a:pt x="4276124" y="5674153"/>
                  </a:lnTo>
                  <a:lnTo>
                    <a:pt x="4261120" y="5685798"/>
                  </a:lnTo>
                  <a:lnTo>
                    <a:pt x="4231112" y="5708976"/>
                  </a:lnTo>
                  <a:lnTo>
                    <a:pt x="4170984" y="5755443"/>
                  </a:lnTo>
                  <a:cubicBezTo>
                    <a:pt x="4130227" y="5785563"/>
                    <a:pt x="4087790" y="5813892"/>
                    <a:pt x="4046025" y="5843228"/>
                  </a:cubicBezTo>
                  <a:cubicBezTo>
                    <a:pt x="4002917" y="5870437"/>
                    <a:pt x="3959248" y="5897309"/>
                    <a:pt x="3915356" y="5923735"/>
                  </a:cubicBezTo>
                  <a:cubicBezTo>
                    <a:pt x="3737659" y="6026299"/>
                    <a:pt x="3544847" y="6106022"/>
                    <a:pt x="3346323" y="6158872"/>
                  </a:cubicBezTo>
                  <a:cubicBezTo>
                    <a:pt x="3147800" y="6211946"/>
                    <a:pt x="2944462" y="6239714"/>
                    <a:pt x="2743476" y="6247328"/>
                  </a:cubicBezTo>
                  <a:lnTo>
                    <a:pt x="2668120" y="6249344"/>
                  </a:lnTo>
                  <a:lnTo>
                    <a:pt x="2630498" y="6250127"/>
                  </a:lnTo>
                  <a:lnTo>
                    <a:pt x="2592988" y="6249568"/>
                  </a:lnTo>
                  <a:lnTo>
                    <a:pt x="2518080" y="6247777"/>
                  </a:lnTo>
                  <a:cubicBezTo>
                    <a:pt x="2493110" y="6247105"/>
                    <a:pt x="2468365" y="6246881"/>
                    <a:pt x="2442948" y="6244529"/>
                  </a:cubicBezTo>
                  <a:cubicBezTo>
                    <a:pt x="2392337" y="6240722"/>
                    <a:pt x="2341950" y="6237699"/>
                    <a:pt x="2291676" y="6232213"/>
                  </a:cubicBezTo>
                  <a:lnTo>
                    <a:pt x="2141412" y="6212394"/>
                  </a:lnTo>
                  <a:lnTo>
                    <a:pt x="1992715" y="6184961"/>
                  </a:lnTo>
                  <a:cubicBezTo>
                    <a:pt x="1943561" y="6173988"/>
                    <a:pt x="1894630" y="6162231"/>
                    <a:pt x="1845811" y="6151034"/>
                  </a:cubicBezTo>
                  <a:cubicBezTo>
                    <a:pt x="1797215" y="6138829"/>
                    <a:pt x="1749180" y="6123938"/>
                    <a:pt x="1701033" y="6110724"/>
                  </a:cubicBezTo>
                  <a:cubicBezTo>
                    <a:pt x="1676847" y="6104566"/>
                    <a:pt x="1653334" y="6095833"/>
                    <a:pt x="1629484" y="6088219"/>
                  </a:cubicBezTo>
                  <a:lnTo>
                    <a:pt x="1558383" y="6064929"/>
                  </a:lnTo>
                  <a:cubicBezTo>
                    <a:pt x="1369713" y="6000210"/>
                    <a:pt x="1186978" y="5921271"/>
                    <a:pt x="1011968" y="5828896"/>
                  </a:cubicBezTo>
                  <a:cubicBezTo>
                    <a:pt x="837071" y="5736408"/>
                    <a:pt x="668556" y="5631940"/>
                    <a:pt x="511237" y="5512356"/>
                  </a:cubicBezTo>
                  <a:cubicBezTo>
                    <a:pt x="471152" y="5483468"/>
                    <a:pt x="433642" y="5451220"/>
                    <a:pt x="395572" y="5419757"/>
                  </a:cubicBezTo>
                  <a:cubicBezTo>
                    <a:pt x="356831" y="5388965"/>
                    <a:pt x="321112" y="5354926"/>
                    <a:pt x="284722" y="5321559"/>
                  </a:cubicBezTo>
                  <a:lnTo>
                    <a:pt x="257513" y="5296477"/>
                  </a:lnTo>
                  <a:lnTo>
                    <a:pt x="243853" y="5283937"/>
                  </a:lnTo>
                  <a:lnTo>
                    <a:pt x="230752" y="5270836"/>
                  </a:lnTo>
                  <a:lnTo>
                    <a:pt x="178574" y="5218322"/>
                  </a:lnTo>
                  <a:cubicBezTo>
                    <a:pt x="161331" y="5200631"/>
                    <a:pt x="143191" y="5183948"/>
                    <a:pt x="126508" y="5165584"/>
                  </a:cubicBezTo>
                  <a:lnTo>
                    <a:pt x="76345" y="5111167"/>
                  </a:lnTo>
                  <a:cubicBezTo>
                    <a:pt x="59774" y="5092916"/>
                    <a:pt x="42530" y="5075112"/>
                    <a:pt x="26407" y="5056413"/>
                  </a:cubicBezTo>
                  <a:lnTo>
                    <a:pt x="0" y="5024776"/>
                  </a:lnTo>
                  <a:lnTo>
                    <a:pt x="0" y="4492798"/>
                  </a:lnTo>
                  <a:lnTo>
                    <a:pt x="28534" y="4537879"/>
                  </a:lnTo>
                  <a:cubicBezTo>
                    <a:pt x="41299" y="4556130"/>
                    <a:pt x="54175" y="4574382"/>
                    <a:pt x="66604" y="4592745"/>
                  </a:cubicBezTo>
                  <a:lnTo>
                    <a:pt x="104114" y="4647834"/>
                  </a:lnTo>
                  <a:lnTo>
                    <a:pt x="143751" y="4701580"/>
                  </a:lnTo>
                  <a:cubicBezTo>
                    <a:pt x="156964" y="4719495"/>
                    <a:pt x="169728" y="4737746"/>
                    <a:pt x="182717" y="4755773"/>
                  </a:cubicBezTo>
                  <a:lnTo>
                    <a:pt x="223810" y="4808399"/>
                  </a:lnTo>
                  <a:lnTo>
                    <a:pt x="264679" y="4861249"/>
                  </a:lnTo>
                  <a:cubicBezTo>
                    <a:pt x="278563" y="4878717"/>
                    <a:pt x="293455" y="4895288"/>
                    <a:pt x="307788" y="4912420"/>
                  </a:cubicBezTo>
                  <a:lnTo>
                    <a:pt x="351232" y="4963254"/>
                  </a:lnTo>
                  <a:cubicBezTo>
                    <a:pt x="365788" y="4980162"/>
                    <a:pt x="381688" y="4995837"/>
                    <a:pt x="397028" y="5012185"/>
                  </a:cubicBezTo>
                  <a:lnTo>
                    <a:pt x="443496" y="5060444"/>
                  </a:lnTo>
                  <a:lnTo>
                    <a:pt x="455140" y="5072537"/>
                  </a:lnTo>
                  <a:lnTo>
                    <a:pt x="467345" y="5083958"/>
                  </a:lnTo>
                  <a:lnTo>
                    <a:pt x="491755" y="5106912"/>
                  </a:lnTo>
                  <a:lnTo>
                    <a:pt x="540686" y="5152819"/>
                  </a:lnTo>
                  <a:lnTo>
                    <a:pt x="552890" y="5164353"/>
                  </a:lnTo>
                  <a:lnTo>
                    <a:pt x="565655" y="5175214"/>
                  </a:lnTo>
                  <a:lnTo>
                    <a:pt x="591072" y="5197048"/>
                  </a:lnTo>
                  <a:cubicBezTo>
                    <a:pt x="624999" y="5226160"/>
                    <a:pt x="658366" y="5256056"/>
                    <a:pt x="694197" y="5283041"/>
                  </a:cubicBezTo>
                  <a:cubicBezTo>
                    <a:pt x="834272" y="5394675"/>
                    <a:pt x="985207" y="5493881"/>
                    <a:pt x="1146221" y="5573716"/>
                  </a:cubicBezTo>
                  <a:cubicBezTo>
                    <a:pt x="1307122" y="5653774"/>
                    <a:pt x="1476869" y="5715918"/>
                    <a:pt x="1650982" y="5758130"/>
                  </a:cubicBezTo>
                  <a:lnTo>
                    <a:pt x="1716485" y="5772798"/>
                  </a:lnTo>
                  <a:cubicBezTo>
                    <a:pt x="1738431" y="5777390"/>
                    <a:pt x="1759929" y="5783100"/>
                    <a:pt x="1782211" y="5786235"/>
                  </a:cubicBezTo>
                  <a:lnTo>
                    <a:pt x="1848386" y="5796984"/>
                  </a:lnTo>
                  <a:lnTo>
                    <a:pt x="1881417" y="5802359"/>
                  </a:lnTo>
                  <a:cubicBezTo>
                    <a:pt x="1892390" y="5804151"/>
                    <a:pt x="1903363" y="5806054"/>
                    <a:pt x="1914560" y="5807061"/>
                  </a:cubicBezTo>
                  <a:cubicBezTo>
                    <a:pt x="1959012" y="5811765"/>
                    <a:pt x="2003241" y="5817251"/>
                    <a:pt x="2047469" y="5821282"/>
                  </a:cubicBezTo>
                  <a:lnTo>
                    <a:pt x="2180601" y="5828896"/>
                  </a:lnTo>
                  <a:lnTo>
                    <a:pt x="2313622" y="5830463"/>
                  </a:lnTo>
                  <a:cubicBezTo>
                    <a:pt x="2335680" y="5830799"/>
                    <a:pt x="2357962" y="5829008"/>
                    <a:pt x="2380021" y="5828448"/>
                  </a:cubicBezTo>
                  <a:lnTo>
                    <a:pt x="2446195" y="5826433"/>
                  </a:lnTo>
                  <a:cubicBezTo>
                    <a:pt x="2468029" y="5826208"/>
                    <a:pt x="2490647" y="5824193"/>
                    <a:pt x="2513041" y="5822737"/>
                  </a:cubicBezTo>
                  <a:lnTo>
                    <a:pt x="2580111" y="5818258"/>
                  </a:lnTo>
                  <a:lnTo>
                    <a:pt x="2613590" y="5816355"/>
                  </a:lnTo>
                  <a:lnTo>
                    <a:pt x="2646845" y="5813108"/>
                  </a:lnTo>
                  <a:cubicBezTo>
                    <a:pt x="2669016" y="5810869"/>
                    <a:pt x="2691074" y="5808741"/>
                    <a:pt x="2713244" y="5806838"/>
                  </a:cubicBezTo>
                  <a:cubicBezTo>
                    <a:pt x="2889933" y="5789371"/>
                    <a:pt x="3062815" y="5762050"/>
                    <a:pt x="3230882" y="5721292"/>
                  </a:cubicBezTo>
                  <a:cubicBezTo>
                    <a:pt x="3398837" y="5680423"/>
                    <a:pt x="3562426" y="5626902"/>
                    <a:pt x="3720416" y="5556472"/>
                  </a:cubicBezTo>
                  <a:cubicBezTo>
                    <a:pt x="3759381" y="5537997"/>
                    <a:pt x="3798347" y="5518962"/>
                    <a:pt x="3837425" y="5499927"/>
                  </a:cubicBezTo>
                  <a:cubicBezTo>
                    <a:pt x="3875271" y="5478765"/>
                    <a:pt x="3913900" y="5458610"/>
                    <a:pt x="3951634" y="5436552"/>
                  </a:cubicBezTo>
                  <a:lnTo>
                    <a:pt x="4007284" y="5401841"/>
                  </a:lnTo>
                  <a:lnTo>
                    <a:pt x="4035164" y="5384374"/>
                  </a:lnTo>
                  <a:lnTo>
                    <a:pt x="4049049" y="5375640"/>
                  </a:lnTo>
                  <a:lnTo>
                    <a:pt x="4062485" y="5366123"/>
                  </a:lnTo>
                  <a:lnTo>
                    <a:pt x="4116567" y="5328277"/>
                  </a:lnTo>
                  <a:cubicBezTo>
                    <a:pt x="4134594" y="5315624"/>
                    <a:pt x="4152957" y="5303420"/>
                    <a:pt x="4169976" y="5289199"/>
                  </a:cubicBezTo>
                  <a:lnTo>
                    <a:pt x="4222042" y="5247994"/>
                  </a:lnTo>
                  <a:cubicBezTo>
                    <a:pt x="4239398" y="5234222"/>
                    <a:pt x="4256865" y="5220562"/>
                    <a:pt x="4273213" y="5205558"/>
                  </a:cubicBezTo>
                  <a:lnTo>
                    <a:pt x="4323151" y="5161329"/>
                  </a:lnTo>
                  <a:cubicBezTo>
                    <a:pt x="4339611" y="5146437"/>
                    <a:pt x="4356631" y="5131881"/>
                    <a:pt x="4371971" y="5116093"/>
                  </a:cubicBezTo>
                  <a:cubicBezTo>
                    <a:pt x="4435457" y="5054398"/>
                    <a:pt x="4496258" y="4991135"/>
                    <a:pt x="4546868" y="4924400"/>
                  </a:cubicBezTo>
                  <a:cubicBezTo>
                    <a:pt x="4600054" y="4858450"/>
                    <a:pt x="4640699" y="4788916"/>
                    <a:pt x="4675634" y="4715352"/>
                  </a:cubicBezTo>
                  <a:lnTo>
                    <a:pt x="4700155" y="4659255"/>
                  </a:lnTo>
                  <a:lnTo>
                    <a:pt x="4721206" y="4600135"/>
                  </a:lnTo>
                  <a:cubicBezTo>
                    <a:pt x="4728707" y="4580988"/>
                    <a:pt x="4733970" y="4559266"/>
                    <a:pt x="4740465" y="4538887"/>
                  </a:cubicBezTo>
                  <a:cubicBezTo>
                    <a:pt x="4746623" y="4518061"/>
                    <a:pt x="4753005" y="4497906"/>
                    <a:pt x="4758492" y="4475848"/>
                  </a:cubicBezTo>
                  <a:cubicBezTo>
                    <a:pt x="4803168" y="4303637"/>
                    <a:pt x="4840902" y="4115080"/>
                    <a:pt x="4891288" y="3930329"/>
                  </a:cubicBezTo>
                  <a:cubicBezTo>
                    <a:pt x="4940891" y="3744906"/>
                    <a:pt x="5000235" y="3562059"/>
                    <a:pt x="5066298" y="3382235"/>
                  </a:cubicBezTo>
                  <a:cubicBezTo>
                    <a:pt x="5124186" y="3226932"/>
                    <a:pt x="5154530" y="3064015"/>
                    <a:pt x="5156994" y="2898635"/>
                  </a:cubicBezTo>
                  <a:cubicBezTo>
                    <a:pt x="5159681" y="2733255"/>
                    <a:pt x="5132920" y="2565636"/>
                    <a:pt x="5083317" y="2402047"/>
                  </a:cubicBezTo>
                  <a:cubicBezTo>
                    <a:pt x="5033938" y="2238123"/>
                    <a:pt x="4960150" y="2079013"/>
                    <a:pt x="4871022" y="1926958"/>
                  </a:cubicBezTo>
                  <a:cubicBezTo>
                    <a:pt x="4826570" y="1850818"/>
                    <a:pt x="4777415" y="1776918"/>
                    <a:pt x="4727028" y="1703577"/>
                  </a:cubicBezTo>
                  <a:cubicBezTo>
                    <a:pt x="4676418" y="1630349"/>
                    <a:pt x="4622784" y="1558464"/>
                    <a:pt x="4563776" y="1490834"/>
                  </a:cubicBezTo>
                  <a:cubicBezTo>
                    <a:pt x="4503647" y="1423764"/>
                    <a:pt x="4439041" y="1359157"/>
                    <a:pt x="4370291" y="1300596"/>
                  </a:cubicBezTo>
                  <a:cubicBezTo>
                    <a:pt x="4336812" y="1270141"/>
                    <a:pt x="4301541" y="1242148"/>
                    <a:pt x="4266046" y="1214491"/>
                  </a:cubicBezTo>
                  <a:cubicBezTo>
                    <a:pt x="4248355" y="1200607"/>
                    <a:pt x="4230776" y="1186611"/>
                    <a:pt x="4212973" y="1173062"/>
                  </a:cubicBezTo>
                  <a:cubicBezTo>
                    <a:pt x="4194722" y="1160074"/>
                    <a:pt x="4176359" y="1147197"/>
                    <a:pt x="4157995" y="1134545"/>
                  </a:cubicBezTo>
                  <a:cubicBezTo>
                    <a:pt x="4011426" y="1031980"/>
                    <a:pt x="3855004" y="948562"/>
                    <a:pt x="3697126" y="881044"/>
                  </a:cubicBezTo>
                  <a:lnTo>
                    <a:pt x="3637670" y="856747"/>
                  </a:lnTo>
                  <a:lnTo>
                    <a:pt x="3608222" y="844318"/>
                  </a:lnTo>
                  <a:cubicBezTo>
                    <a:pt x="3598480" y="840063"/>
                    <a:pt x="3588179" y="837040"/>
                    <a:pt x="3578214" y="833457"/>
                  </a:cubicBezTo>
                  <a:lnTo>
                    <a:pt x="3518309" y="812294"/>
                  </a:lnTo>
                  <a:cubicBezTo>
                    <a:pt x="3513383" y="810503"/>
                    <a:pt x="3508344" y="808823"/>
                    <a:pt x="3503417" y="806920"/>
                  </a:cubicBezTo>
                  <a:cubicBezTo>
                    <a:pt x="3498603" y="804792"/>
                    <a:pt x="3494236" y="801993"/>
                    <a:pt x="3489533" y="799642"/>
                  </a:cubicBezTo>
                  <a:cubicBezTo>
                    <a:pt x="3480240" y="794827"/>
                    <a:pt x="3470498" y="791020"/>
                    <a:pt x="3460869" y="787101"/>
                  </a:cubicBezTo>
                  <a:lnTo>
                    <a:pt x="3402980" y="763475"/>
                  </a:lnTo>
                  <a:lnTo>
                    <a:pt x="3374092" y="751606"/>
                  </a:lnTo>
                  <a:cubicBezTo>
                    <a:pt x="3364462" y="747688"/>
                    <a:pt x="3354945" y="743433"/>
                    <a:pt x="3344980" y="740409"/>
                  </a:cubicBezTo>
                  <a:lnTo>
                    <a:pt x="3226627" y="700772"/>
                  </a:lnTo>
                  <a:cubicBezTo>
                    <a:pt x="3067405" y="652849"/>
                    <a:pt x="2902697" y="625192"/>
                    <a:pt x="2735750" y="614667"/>
                  </a:cubicBezTo>
                  <a:cubicBezTo>
                    <a:pt x="2714811" y="613435"/>
                    <a:pt x="2694209" y="610860"/>
                    <a:pt x="2673158" y="610412"/>
                  </a:cubicBezTo>
                  <a:lnTo>
                    <a:pt x="2610119" y="609628"/>
                  </a:lnTo>
                  <a:lnTo>
                    <a:pt x="2547080" y="608620"/>
                  </a:lnTo>
                  <a:cubicBezTo>
                    <a:pt x="2536443" y="608173"/>
                    <a:pt x="2526365" y="608397"/>
                    <a:pt x="2516400" y="608844"/>
                  </a:cubicBezTo>
                  <a:lnTo>
                    <a:pt x="2486280" y="609740"/>
                  </a:lnTo>
                  <a:cubicBezTo>
                    <a:pt x="2466125" y="609852"/>
                    <a:pt x="2446307" y="611868"/>
                    <a:pt x="2426376" y="613099"/>
                  </a:cubicBezTo>
                  <a:cubicBezTo>
                    <a:pt x="2406333" y="613995"/>
                    <a:pt x="2386627" y="616458"/>
                    <a:pt x="2366920" y="618474"/>
                  </a:cubicBezTo>
                  <a:cubicBezTo>
                    <a:pt x="2357066" y="619482"/>
                    <a:pt x="2347101" y="620153"/>
                    <a:pt x="2337248" y="621497"/>
                  </a:cubicBezTo>
                  <a:lnTo>
                    <a:pt x="2307800" y="625528"/>
                  </a:lnTo>
                  <a:lnTo>
                    <a:pt x="2278351" y="629559"/>
                  </a:lnTo>
                  <a:lnTo>
                    <a:pt x="2249127" y="634710"/>
                  </a:lnTo>
                  <a:cubicBezTo>
                    <a:pt x="2093377" y="661918"/>
                    <a:pt x="1942329" y="710849"/>
                    <a:pt x="1796096" y="781726"/>
                  </a:cubicBezTo>
                  <a:cubicBezTo>
                    <a:pt x="1649751" y="852268"/>
                    <a:pt x="1508892" y="944307"/>
                    <a:pt x="1370833" y="1048663"/>
                  </a:cubicBezTo>
                  <a:cubicBezTo>
                    <a:pt x="1232774" y="1153244"/>
                    <a:pt x="1097290" y="1269917"/>
                    <a:pt x="959790" y="1390844"/>
                  </a:cubicBezTo>
                  <a:lnTo>
                    <a:pt x="749062" y="1577611"/>
                  </a:lnTo>
                  <a:cubicBezTo>
                    <a:pt x="674602" y="1642329"/>
                    <a:pt x="599806" y="1704137"/>
                    <a:pt x="524786" y="1763145"/>
                  </a:cubicBezTo>
                  <a:cubicBezTo>
                    <a:pt x="374858" y="1881498"/>
                    <a:pt x="223810" y="1987422"/>
                    <a:pt x="84071" y="2098496"/>
                  </a:cubicBezTo>
                  <a:lnTo>
                    <a:pt x="0" y="2168094"/>
                  </a:lnTo>
                  <a:lnTo>
                    <a:pt x="0" y="1576676"/>
                  </a:lnTo>
                  <a:lnTo>
                    <a:pt x="174655" y="1387597"/>
                  </a:lnTo>
                  <a:cubicBezTo>
                    <a:pt x="238926" y="1320079"/>
                    <a:pt x="302749" y="1254577"/>
                    <a:pt x="363661" y="1188626"/>
                  </a:cubicBezTo>
                  <a:lnTo>
                    <a:pt x="458052" y="1086397"/>
                  </a:lnTo>
                  <a:cubicBezTo>
                    <a:pt x="490635" y="1051351"/>
                    <a:pt x="523666" y="1016416"/>
                    <a:pt x="557257" y="981593"/>
                  </a:cubicBezTo>
                  <a:cubicBezTo>
                    <a:pt x="691510" y="842414"/>
                    <a:pt x="835055" y="705699"/>
                    <a:pt x="994165" y="578389"/>
                  </a:cubicBezTo>
                  <a:cubicBezTo>
                    <a:pt x="1152939" y="451190"/>
                    <a:pt x="1328060" y="333398"/>
                    <a:pt x="1520873" y="237215"/>
                  </a:cubicBezTo>
                  <a:cubicBezTo>
                    <a:pt x="1713238" y="141033"/>
                    <a:pt x="1924302" y="68028"/>
                    <a:pt x="2141748" y="31190"/>
                  </a:cubicBezTo>
                  <a:lnTo>
                    <a:pt x="2182505" y="24360"/>
                  </a:lnTo>
                  <a:cubicBezTo>
                    <a:pt x="2196165" y="22344"/>
                    <a:pt x="2209826" y="20665"/>
                    <a:pt x="2223374" y="18873"/>
                  </a:cubicBezTo>
                  <a:lnTo>
                    <a:pt x="2264355" y="13611"/>
                  </a:lnTo>
                  <a:cubicBezTo>
                    <a:pt x="2278015" y="11931"/>
                    <a:pt x="2291676" y="10924"/>
                    <a:pt x="2305336" y="9580"/>
                  </a:cubicBezTo>
                  <a:cubicBezTo>
                    <a:pt x="2332657" y="7229"/>
                    <a:pt x="2360090" y="4653"/>
                    <a:pt x="2387410" y="3645"/>
                  </a:cubicBezTo>
                  <a:cubicBezTo>
                    <a:pt x="2414731" y="2414"/>
                    <a:pt x="2442164" y="510"/>
                    <a:pt x="2469373" y="622"/>
                  </a:cubicBezTo>
                  <a:close/>
                </a:path>
              </a:pathLst>
            </a:custGeom>
            <a:gradFill>
              <a:gsLst>
                <a:gs pos="37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3" name="Freeform: Shape 22">
              <a:extLst>
                <a:ext uri="{FF2B5EF4-FFF2-40B4-BE49-F238E27FC236}">
                  <a16:creationId xmlns:a16="http://schemas.microsoft.com/office/drawing/2014/main" id="{D531703B-17BF-F12C-083E-B62CFC96A8D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176241"/>
              <a:ext cx="5646908" cy="6130481"/>
            </a:xfrm>
            <a:custGeom>
              <a:avLst/>
              <a:gdLst>
                <a:gd name="connsiteX0" fmla="*/ 2616837 w 5646908"/>
                <a:gd name="connsiteY0" fmla="*/ 0 h 6130481"/>
                <a:gd name="connsiteX1" fmla="*/ 4918721 w 5646908"/>
                <a:gd name="connsiteY1" fmla="*/ 1134258 h 6130481"/>
                <a:gd name="connsiteX2" fmla="*/ 5539036 w 5646908"/>
                <a:gd name="connsiteY2" fmla="*/ 3362353 h 6130481"/>
                <a:gd name="connsiteX3" fmla="*/ 4712024 w 5646908"/>
                <a:gd name="connsiteY3" fmla="*/ 5293280 h 6130481"/>
                <a:gd name="connsiteX4" fmla="*/ 2547864 w 5646908"/>
                <a:gd name="connsiteY4" fmla="*/ 6130481 h 6130481"/>
                <a:gd name="connsiteX5" fmla="*/ 263223 w 5646908"/>
                <a:gd name="connsiteY5" fmla="*/ 5212325 h 6130481"/>
                <a:gd name="connsiteX6" fmla="*/ 49974 w 5646908"/>
                <a:gd name="connsiteY6" fmla="*/ 4985345 h 6130481"/>
                <a:gd name="connsiteX7" fmla="*/ 0 w 5646908"/>
                <a:gd name="connsiteY7" fmla="*/ 4920618 h 6130481"/>
                <a:gd name="connsiteX8" fmla="*/ 0 w 5646908"/>
                <a:gd name="connsiteY8" fmla="*/ 3760303 h 6130481"/>
                <a:gd name="connsiteX9" fmla="*/ 80488 w 5646908"/>
                <a:gd name="connsiteY9" fmla="*/ 3974159 h 6130481"/>
                <a:gd name="connsiteX10" fmla="*/ 664748 w 5646908"/>
                <a:gd name="connsiteY10" fmla="*/ 4813600 h 6130481"/>
                <a:gd name="connsiteX11" fmla="*/ 2548087 w 5646908"/>
                <a:gd name="connsiteY11" fmla="*/ 5570406 h 6130481"/>
                <a:gd name="connsiteX12" fmla="*/ 3536561 w 5646908"/>
                <a:gd name="connsiteY12" fmla="*/ 5407153 h 6130481"/>
                <a:gd name="connsiteX13" fmla="*/ 4308035 w 5646908"/>
                <a:gd name="connsiteY13" fmla="*/ 4897241 h 6130481"/>
                <a:gd name="connsiteX14" fmla="*/ 4569038 w 5646908"/>
                <a:gd name="connsiteY14" fmla="*/ 4564802 h 6130481"/>
                <a:gd name="connsiteX15" fmla="*/ 4699147 w 5646908"/>
                <a:gd name="connsiteY15" fmla="*/ 4149952 h 6130481"/>
                <a:gd name="connsiteX16" fmla="*/ 5003034 w 5646908"/>
                <a:gd name="connsiteY16" fmla="*/ 3168421 h 6130481"/>
                <a:gd name="connsiteX17" fmla="*/ 4994189 w 5646908"/>
                <a:gd name="connsiteY17" fmla="*/ 2321590 h 6130481"/>
                <a:gd name="connsiteX18" fmla="*/ 4487860 w 5646908"/>
                <a:gd name="connsiteY18" fmla="*/ 1501856 h 6130481"/>
                <a:gd name="connsiteX19" fmla="*/ 3640469 w 5646908"/>
                <a:gd name="connsiteY19" fmla="*/ 808425 h 6130481"/>
                <a:gd name="connsiteX20" fmla="*/ 2616837 w 5646908"/>
                <a:gd name="connsiteY20" fmla="*/ 559851 h 6130481"/>
                <a:gd name="connsiteX21" fmla="*/ 1762952 w 5646908"/>
                <a:gd name="connsiteY21" fmla="*/ 812008 h 6130481"/>
                <a:gd name="connsiteX22" fmla="*/ 939635 w 5646908"/>
                <a:gd name="connsiteY22" fmla="*/ 1502976 h 6130481"/>
                <a:gd name="connsiteX23" fmla="*/ 585250 w 5646908"/>
                <a:gd name="connsiteY23" fmla="*/ 1831049 h 6130481"/>
                <a:gd name="connsiteX24" fmla="*/ 40403 w 5646908"/>
                <a:gd name="connsiteY24" fmla="*/ 2389556 h 6130481"/>
                <a:gd name="connsiteX25" fmla="*/ 0 w 5646908"/>
                <a:gd name="connsiteY25" fmla="*/ 2456747 h 6130481"/>
                <a:gd name="connsiteX26" fmla="*/ 0 w 5646908"/>
                <a:gd name="connsiteY26" fmla="*/ 1601114 h 6130481"/>
                <a:gd name="connsiteX27" fmla="*/ 93200 w 5646908"/>
                <a:gd name="connsiteY27" fmla="*/ 1513741 h 6130481"/>
                <a:gd name="connsiteX28" fmla="*/ 535423 w 5646908"/>
                <a:gd name="connsiteY28" fmla="*/ 1107273 h 6130481"/>
                <a:gd name="connsiteX29" fmla="*/ 2616837 w 5646908"/>
                <a:gd name="connsiteY29" fmla="*/ 0 h 613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46908" h="6130481">
                  <a:moveTo>
                    <a:pt x="2616837" y="0"/>
                  </a:moveTo>
                  <a:cubicBezTo>
                    <a:pt x="3596241" y="0"/>
                    <a:pt x="4322479" y="463445"/>
                    <a:pt x="4918721" y="1134258"/>
                  </a:cubicBezTo>
                  <a:cubicBezTo>
                    <a:pt x="5416317" y="1694109"/>
                    <a:pt x="5857703" y="2516643"/>
                    <a:pt x="5539036" y="3362353"/>
                  </a:cubicBezTo>
                  <a:cubicBezTo>
                    <a:pt x="5111758" y="4496612"/>
                    <a:pt x="5300763" y="4716633"/>
                    <a:pt x="4712024" y="5293280"/>
                  </a:cubicBezTo>
                  <a:cubicBezTo>
                    <a:pt x="4123284" y="5869926"/>
                    <a:pt x="3446201" y="6130481"/>
                    <a:pt x="2547864" y="6130481"/>
                  </a:cubicBezTo>
                  <a:cubicBezTo>
                    <a:pt x="1657476" y="6130481"/>
                    <a:pt x="850619" y="5780127"/>
                    <a:pt x="263223" y="5212325"/>
                  </a:cubicBezTo>
                  <a:cubicBezTo>
                    <a:pt x="188497" y="5140091"/>
                    <a:pt x="117321" y="5064339"/>
                    <a:pt x="49974" y="4985345"/>
                  </a:cubicBezTo>
                  <a:lnTo>
                    <a:pt x="0" y="4920618"/>
                  </a:lnTo>
                  <a:lnTo>
                    <a:pt x="0" y="3760303"/>
                  </a:lnTo>
                  <a:lnTo>
                    <a:pt x="80488" y="3974159"/>
                  </a:lnTo>
                  <a:cubicBezTo>
                    <a:pt x="217875" y="4289243"/>
                    <a:pt x="414383" y="4571632"/>
                    <a:pt x="664748" y="4813600"/>
                  </a:cubicBezTo>
                  <a:cubicBezTo>
                    <a:pt x="1169734" y="5301566"/>
                    <a:pt x="1838644" y="5570406"/>
                    <a:pt x="2548087" y="5570406"/>
                  </a:cubicBezTo>
                  <a:cubicBezTo>
                    <a:pt x="2928786" y="5570406"/>
                    <a:pt x="3252156" y="5516996"/>
                    <a:pt x="3536561" y="5407153"/>
                  </a:cubicBezTo>
                  <a:cubicBezTo>
                    <a:pt x="3815366" y="5299438"/>
                    <a:pt x="4067747" y="5132603"/>
                    <a:pt x="4308035" y="4897241"/>
                  </a:cubicBezTo>
                  <a:cubicBezTo>
                    <a:pt x="4475095" y="4733653"/>
                    <a:pt x="4533767" y="4637358"/>
                    <a:pt x="4569038" y="4564802"/>
                  </a:cubicBezTo>
                  <a:cubicBezTo>
                    <a:pt x="4619313" y="4461453"/>
                    <a:pt x="4652792" y="4330784"/>
                    <a:pt x="4699147" y="4149952"/>
                  </a:cubicBezTo>
                  <a:cubicBezTo>
                    <a:pt x="4758491" y="3918846"/>
                    <a:pt x="4839558" y="3602194"/>
                    <a:pt x="5003034" y="3168421"/>
                  </a:cubicBezTo>
                  <a:cubicBezTo>
                    <a:pt x="5103024" y="2902940"/>
                    <a:pt x="5100112" y="2626037"/>
                    <a:pt x="4994189" y="2321590"/>
                  </a:cubicBezTo>
                  <a:cubicBezTo>
                    <a:pt x="4900470" y="2052526"/>
                    <a:pt x="4725460" y="1769129"/>
                    <a:pt x="4487860" y="1501856"/>
                  </a:cubicBezTo>
                  <a:cubicBezTo>
                    <a:pt x="4210285" y="1189683"/>
                    <a:pt x="3933047" y="962832"/>
                    <a:pt x="3640469" y="808425"/>
                  </a:cubicBezTo>
                  <a:cubicBezTo>
                    <a:pt x="3323369" y="641141"/>
                    <a:pt x="2988578" y="559851"/>
                    <a:pt x="2616837" y="559851"/>
                  </a:cubicBezTo>
                  <a:cubicBezTo>
                    <a:pt x="2315413" y="559851"/>
                    <a:pt x="2044110" y="640134"/>
                    <a:pt x="1762952" y="812008"/>
                  </a:cubicBezTo>
                  <a:cubicBezTo>
                    <a:pt x="1472838" y="989593"/>
                    <a:pt x="1197167" y="1250707"/>
                    <a:pt x="939635" y="1502976"/>
                  </a:cubicBezTo>
                  <a:cubicBezTo>
                    <a:pt x="819379" y="1620769"/>
                    <a:pt x="700355" y="1727700"/>
                    <a:pt x="585250" y="1831049"/>
                  </a:cubicBezTo>
                  <a:cubicBezTo>
                    <a:pt x="362317" y="2031140"/>
                    <a:pt x="169840" y="2204022"/>
                    <a:pt x="40403" y="2389556"/>
                  </a:cubicBezTo>
                  <a:lnTo>
                    <a:pt x="0" y="2456747"/>
                  </a:lnTo>
                  <a:lnTo>
                    <a:pt x="0" y="1601114"/>
                  </a:lnTo>
                  <a:lnTo>
                    <a:pt x="93200" y="1513741"/>
                  </a:lnTo>
                  <a:cubicBezTo>
                    <a:pt x="237107" y="1383294"/>
                    <a:pt x="388238" y="1251435"/>
                    <a:pt x="535423" y="1107273"/>
                  </a:cubicBezTo>
                  <a:cubicBezTo>
                    <a:pt x="1124050" y="530627"/>
                    <a:pt x="1718500" y="0"/>
                    <a:pt x="2616837" y="0"/>
                  </a:cubicBezTo>
                  <a:close/>
                </a:path>
              </a:pathLst>
            </a:custGeom>
            <a:gradFill>
              <a:gsLst>
                <a:gs pos="2000">
                  <a:schemeClr val="bg1">
                    <a:alpha val="10000"/>
                  </a:schemeClr>
                </a:gs>
                <a:gs pos="54000">
                  <a:schemeClr val="accent6">
                    <a:alpha val="10000"/>
                  </a:schemeClr>
                </a:gs>
                <a:gs pos="100000">
                  <a:schemeClr val="bg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Freeform: Shape 23">
              <a:extLst>
                <a:ext uri="{FF2B5EF4-FFF2-40B4-BE49-F238E27FC236}">
                  <a16:creationId xmlns:a16="http://schemas.microsoft.com/office/drawing/2014/main" id="{09CECC42-0032-5335-C9C5-4744B7FE31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176241"/>
              <a:ext cx="5517522" cy="6130481"/>
            </a:xfrm>
            <a:custGeom>
              <a:avLst/>
              <a:gdLst>
                <a:gd name="connsiteX0" fmla="*/ 2549095 w 5517522"/>
                <a:gd name="connsiteY0" fmla="*/ 0 h 6130481"/>
                <a:gd name="connsiteX1" fmla="*/ 4804175 w 5517522"/>
                <a:gd name="connsiteY1" fmla="*/ 1134258 h 6130481"/>
                <a:gd name="connsiteX2" fmla="*/ 5411838 w 5517522"/>
                <a:gd name="connsiteY2" fmla="*/ 3362353 h 6130481"/>
                <a:gd name="connsiteX3" fmla="*/ 4601621 w 5517522"/>
                <a:gd name="connsiteY3" fmla="*/ 5293280 h 6130481"/>
                <a:gd name="connsiteX4" fmla="*/ 2481577 w 5517522"/>
                <a:gd name="connsiteY4" fmla="*/ 6130481 h 6130481"/>
                <a:gd name="connsiteX5" fmla="*/ 243517 w 5517522"/>
                <a:gd name="connsiteY5" fmla="*/ 5212325 h 6130481"/>
                <a:gd name="connsiteX6" fmla="*/ 34587 w 5517522"/>
                <a:gd name="connsiteY6" fmla="*/ 4985345 h 6130481"/>
                <a:gd name="connsiteX7" fmla="*/ 0 w 5517522"/>
                <a:gd name="connsiteY7" fmla="*/ 4939620 h 6130481"/>
                <a:gd name="connsiteX8" fmla="*/ 0 w 5517522"/>
                <a:gd name="connsiteY8" fmla="*/ 3335329 h 6130481"/>
                <a:gd name="connsiteX9" fmla="*/ 17141 w 5517522"/>
                <a:gd name="connsiteY9" fmla="*/ 3448738 h 6130481"/>
                <a:gd name="connsiteX10" fmla="*/ 167489 w 5517522"/>
                <a:gd name="connsiteY10" fmla="*/ 3930490 h 6130481"/>
                <a:gd name="connsiteX11" fmla="*/ 715471 w 5517522"/>
                <a:gd name="connsiteY11" fmla="*/ 4734212 h 6130481"/>
                <a:gd name="connsiteX12" fmla="*/ 2481689 w 5517522"/>
                <a:gd name="connsiteY12" fmla="*/ 5458772 h 6130481"/>
                <a:gd name="connsiteX13" fmla="*/ 4126644 w 5517522"/>
                <a:gd name="connsiteY13" fmla="*/ 4818302 h 6130481"/>
                <a:gd name="connsiteX14" fmla="*/ 4360437 w 5517522"/>
                <a:gd name="connsiteY14" fmla="*/ 4516766 h 6130481"/>
                <a:gd name="connsiteX15" fmla="*/ 4480357 w 5517522"/>
                <a:gd name="connsiteY15" fmla="*/ 4122855 h 6130481"/>
                <a:gd name="connsiteX16" fmla="*/ 4781557 w 5517522"/>
                <a:gd name="connsiteY16" fmla="*/ 3129791 h 6130481"/>
                <a:gd name="connsiteX17" fmla="*/ 4771928 w 5517522"/>
                <a:gd name="connsiteY17" fmla="*/ 2357869 h 6130481"/>
                <a:gd name="connsiteX18" fmla="*/ 4297510 w 5517522"/>
                <a:gd name="connsiteY18" fmla="*/ 1575533 h 6130481"/>
                <a:gd name="connsiteX19" fmla="*/ 3498715 w 5517522"/>
                <a:gd name="connsiteY19" fmla="*/ 907071 h 6130481"/>
                <a:gd name="connsiteX20" fmla="*/ 2549095 w 5517522"/>
                <a:gd name="connsiteY20" fmla="*/ 671821 h 6130481"/>
                <a:gd name="connsiteX21" fmla="*/ 985319 w 5517522"/>
                <a:gd name="connsiteY21" fmla="*/ 1582475 h 6130481"/>
                <a:gd name="connsiteX22" fmla="*/ 634628 w 5517522"/>
                <a:gd name="connsiteY22" fmla="*/ 1913907 h 6130481"/>
                <a:gd name="connsiteX23" fmla="*/ 117662 w 5517522"/>
                <a:gd name="connsiteY23" fmla="*/ 2453044 h 6130481"/>
                <a:gd name="connsiteX24" fmla="*/ 2515 w 5517522"/>
                <a:gd name="connsiteY24" fmla="*/ 2685494 h 6130481"/>
                <a:gd name="connsiteX25" fmla="*/ 0 w 5517522"/>
                <a:gd name="connsiteY25" fmla="*/ 2696965 h 6130481"/>
                <a:gd name="connsiteX26" fmla="*/ 0 w 5517522"/>
                <a:gd name="connsiteY26" fmla="*/ 1587383 h 6130481"/>
                <a:gd name="connsiteX27" fmla="*/ 76951 w 5517522"/>
                <a:gd name="connsiteY27" fmla="*/ 1513741 h 6130481"/>
                <a:gd name="connsiteX28" fmla="*/ 510118 w 5517522"/>
                <a:gd name="connsiteY28" fmla="*/ 1107273 h 6130481"/>
                <a:gd name="connsiteX29" fmla="*/ 2549095 w 5517522"/>
                <a:gd name="connsiteY29" fmla="*/ 0 h 613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17522" h="6130481">
                  <a:moveTo>
                    <a:pt x="2549095" y="0"/>
                  </a:moveTo>
                  <a:cubicBezTo>
                    <a:pt x="3508568" y="0"/>
                    <a:pt x="4219915" y="463445"/>
                    <a:pt x="4804175" y="1134258"/>
                  </a:cubicBezTo>
                  <a:cubicBezTo>
                    <a:pt x="5291694" y="1694109"/>
                    <a:pt x="5724011" y="2516643"/>
                    <a:pt x="5411838" y="3362353"/>
                  </a:cubicBezTo>
                  <a:cubicBezTo>
                    <a:pt x="4993181" y="4496612"/>
                    <a:pt x="5178268" y="4716633"/>
                    <a:pt x="4601621" y="5293280"/>
                  </a:cubicBezTo>
                  <a:cubicBezTo>
                    <a:pt x="4024863" y="5869926"/>
                    <a:pt x="3361551" y="6130481"/>
                    <a:pt x="2481577" y="6130481"/>
                  </a:cubicBezTo>
                  <a:cubicBezTo>
                    <a:pt x="1609329" y="6130481"/>
                    <a:pt x="818932" y="5780127"/>
                    <a:pt x="243517" y="5212325"/>
                  </a:cubicBezTo>
                  <a:cubicBezTo>
                    <a:pt x="170302" y="5140091"/>
                    <a:pt x="100568" y="5064339"/>
                    <a:pt x="34587" y="4985345"/>
                  </a:cubicBezTo>
                  <a:lnTo>
                    <a:pt x="0" y="4939620"/>
                  </a:lnTo>
                  <a:lnTo>
                    <a:pt x="0" y="3335329"/>
                  </a:lnTo>
                  <a:lnTo>
                    <a:pt x="17141" y="3448738"/>
                  </a:lnTo>
                  <a:cubicBezTo>
                    <a:pt x="50676" y="3613558"/>
                    <a:pt x="100867" y="3774516"/>
                    <a:pt x="167489" y="3930490"/>
                  </a:cubicBezTo>
                  <a:cubicBezTo>
                    <a:pt x="296255" y="4232138"/>
                    <a:pt x="480670" y="4502546"/>
                    <a:pt x="715471" y="4734212"/>
                  </a:cubicBezTo>
                  <a:cubicBezTo>
                    <a:pt x="1188993" y="5201464"/>
                    <a:pt x="1816250" y="5458772"/>
                    <a:pt x="2481689" y="5458772"/>
                  </a:cubicBezTo>
                  <a:cubicBezTo>
                    <a:pt x="3185758" y="5458772"/>
                    <a:pt x="3677755" y="5267191"/>
                    <a:pt x="4126644" y="4818302"/>
                  </a:cubicBezTo>
                  <a:cubicBezTo>
                    <a:pt x="4278363" y="4666583"/>
                    <a:pt x="4329982" y="4580701"/>
                    <a:pt x="4360437" y="4516766"/>
                  </a:cubicBezTo>
                  <a:cubicBezTo>
                    <a:pt x="4404890" y="4423495"/>
                    <a:pt x="4436577" y="4297417"/>
                    <a:pt x="4480357" y="4122855"/>
                  </a:cubicBezTo>
                  <a:cubicBezTo>
                    <a:pt x="4539030" y="3889285"/>
                    <a:pt x="4619425" y="3569275"/>
                    <a:pt x="4781557" y="3129791"/>
                  </a:cubicBezTo>
                  <a:cubicBezTo>
                    <a:pt x="4870238" y="2889503"/>
                    <a:pt x="4867103" y="2637010"/>
                    <a:pt x="4771928" y="2357869"/>
                  </a:cubicBezTo>
                  <a:cubicBezTo>
                    <a:pt x="4684815" y="2102465"/>
                    <a:pt x="4520779" y="1831945"/>
                    <a:pt x="4297510" y="1575533"/>
                  </a:cubicBezTo>
                  <a:cubicBezTo>
                    <a:pt x="4034492" y="1273549"/>
                    <a:pt x="3773266" y="1054983"/>
                    <a:pt x="3498715" y="907071"/>
                  </a:cubicBezTo>
                  <a:cubicBezTo>
                    <a:pt x="3204905" y="748745"/>
                    <a:pt x="2894187" y="671821"/>
                    <a:pt x="2549095" y="671821"/>
                  </a:cubicBezTo>
                  <a:cubicBezTo>
                    <a:pt x="1942553" y="671821"/>
                    <a:pt x="1518298" y="1049273"/>
                    <a:pt x="985319" y="1582475"/>
                  </a:cubicBezTo>
                  <a:cubicBezTo>
                    <a:pt x="865735" y="1702059"/>
                    <a:pt x="748278" y="1809774"/>
                    <a:pt x="634628" y="1913907"/>
                  </a:cubicBezTo>
                  <a:cubicBezTo>
                    <a:pt x="421325" y="2109407"/>
                    <a:pt x="237134" y="2278146"/>
                    <a:pt x="117662" y="2453044"/>
                  </a:cubicBezTo>
                  <a:cubicBezTo>
                    <a:pt x="64756" y="2530415"/>
                    <a:pt x="27022" y="2605799"/>
                    <a:pt x="2515" y="2685494"/>
                  </a:cubicBezTo>
                  <a:lnTo>
                    <a:pt x="0" y="2696965"/>
                  </a:lnTo>
                  <a:lnTo>
                    <a:pt x="0" y="1587383"/>
                  </a:lnTo>
                  <a:lnTo>
                    <a:pt x="76951" y="1513741"/>
                  </a:lnTo>
                  <a:cubicBezTo>
                    <a:pt x="217918" y="1383294"/>
                    <a:pt x="365956" y="1251435"/>
                    <a:pt x="510118" y="1107273"/>
                  </a:cubicBezTo>
                  <a:cubicBezTo>
                    <a:pt x="1086764" y="530627"/>
                    <a:pt x="1669121" y="0"/>
                    <a:pt x="2549095"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5" name="Freeform: Shape 24">
              <a:extLst>
                <a:ext uri="{FF2B5EF4-FFF2-40B4-BE49-F238E27FC236}">
                  <a16:creationId xmlns:a16="http://schemas.microsoft.com/office/drawing/2014/main" id="{170ADBF3-4879-E233-9B5E-803A57E16CB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176241"/>
              <a:ext cx="5517475" cy="6130481"/>
            </a:xfrm>
            <a:custGeom>
              <a:avLst/>
              <a:gdLst>
                <a:gd name="connsiteX0" fmla="*/ 2549095 w 5517475"/>
                <a:gd name="connsiteY0" fmla="*/ 0 h 6130481"/>
                <a:gd name="connsiteX1" fmla="*/ 4804175 w 5517475"/>
                <a:gd name="connsiteY1" fmla="*/ 1134258 h 6130481"/>
                <a:gd name="connsiteX2" fmla="*/ 5411838 w 5517475"/>
                <a:gd name="connsiteY2" fmla="*/ 3362353 h 6130481"/>
                <a:gd name="connsiteX3" fmla="*/ 4601621 w 5517475"/>
                <a:gd name="connsiteY3" fmla="*/ 5293280 h 6130481"/>
                <a:gd name="connsiteX4" fmla="*/ 2481577 w 5517475"/>
                <a:gd name="connsiteY4" fmla="*/ 6130481 h 6130481"/>
                <a:gd name="connsiteX5" fmla="*/ 243517 w 5517475"/>
                <a:gd name="connsiteY5" fmla="*/ 5212325 h 6130481"/>
                <a:gd name="connsiteX6" fmla="*/ 34587 w 5517475"/>
                <a:gd name="connsiteY6" fmla="*/ 4985345 h 6130481"/>
                <a:gd name="connsiteX7" fmla="*/ 0 w 5517475"/>
                <a:gd name="connsiteY7" fmla="*/ 4939620 h 6130481"/>
                <a:gd name="connsiteX8" fmla="*/ 0 w 5517475"/>
                <a:gd name="connsiteY8" fmla="*/ 3799573 h 6130481"/>
                <a:gd name="connsiteX9" fmla="*/ 64364 w 5517475"/>
                <a:gd name="connsiteY9" fmla="*/ 3974159 h 6130481"/>
                <a:gd name="connsiteX10" fmla="*/ 636644 w 5517475"/>
                <a:gd name="connsiteY10" fmla="*/ 4813600 h 6130481"/>
                <a:gd name="connsiteX11" fmla="*/ 2481577 w 5517475"/>
                <a:gd name="connsiteY11" fmla="*/ 5570406 h 6130481"/>
                <a:gd name="connsiteX12" fmla="*/ 3449896 w 5517475"/>
                <a:gd name="connsiteY12" fmla="*/ 5407153 h 6130481"/>
                <a:gd name="connsiteX13" fmla="*/ 4205695 w 5517475"/>
                <a:gd name="connsiteY13" fmla="*/ 4897241 h 6130481"/>
                <a:gd name="connsiteX14" fmla="*/ 4461434 w 5517475"/>
                <a:gd name="connsiteY14" fmla="*/ 4564802 h 6130481"/>
                <a:gd name="connsiteX15" fmla="*/ 4588969 w 5517475"/>
                <a:gd name="connsiteY15" fmla="*/ 4149952 h 6130481"/>
                <a:gd name="connsiteX16" fmla="*/ 4886585 w 5517475"/>
                <a:gd name="connsiteY16" fmla="*/ 3168421 h 6130481"/>
                <a:gd name="connsiteX17" fmla="*/ 4877964 w 5517475"/>
                <a:gd name="connsiteY17" fmla="*/ 2321590 h 6130481"/>
                <a:gd name="connsiteX18" fmla="*/ 4382048 w 5517475"/>
                <a:gd name="connsiteY18" fmla="*/ 1501856 h 6130481"/>
                <a:gd name="connsiteX19" fmla="*/ 3551900 w 5517475"/>
                <a:gd name="connsiteY19" fmla="*/ 808425 h 6130481"/>
                <a:gd name="connsiteX20" fmla="*/ 2549095 w 5517475"/>
                <a:gd name="connsiteY20" fmla="*/ 559851 h 6130481"/>
                <a:gd name="connsiteX21" fmla="*/ 1712566 w 5517475"/>
                <a:gd name="connsiteY21" fmla="*/ 812008 h 6130481"/>
                <a:gd name="connsiteX22" fmla="*/ 906044 w 5517475"/>
                <a:gd name="connsiteY22" fmla="*/ 1502976 h 6130481"/>
                <a:gd name="connsiteX23" fmla="*/ 558825 w 5517475"/>
                <a:gd name="connsiteY23" fmla="*/ 1831049 h 6130481"/>
                <a:gd name="connsiteX24" fmla="*/ 25063 w 5517475"/>
                <a:gd name="connsiteY24" fmla="*/ 2389556 h 6130481"/>
                <a:gd name="connsiteX25" fmla="*/ 0 w 5517475"/>
                <a:gd name="connsiteY25" fmla="*/ 2432109 h 6130481"/>
                <a:gd name="connsiteX26" fmla="*/ 0 w 5517475"/>
                <a:gd name="connsiteY26" fmla="*/ 1587383 h 6130481"/>
                <a:gd name="connsiteX27" fmla="*/ 76951 w 5517475"/>
                <a:gd name="connsiteY27" fmla="*/ 1513741 h 6130481"/>
                <a:gd name="connsiteX28" fmla="*/ 510118 w 5517475"/>
                <a:gd name="connsiteY28" fmla="*/ 1107273 h 6130481"/>
                <a:gd name="connsiteX29" fmla="*/ 2549095 w 5517475"/>
                <a:gd name="connsiteY29" fmla="*/ 0 h 613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17475" h="6130481">
                  <a:moveTo>
                    <a:pt x="2549095" y="0"/>
                  </a:moveTo>
                  <a:cubicBezTo>
                    <a:pt x="3508568" y="0"/>
                    <a:pt x="4219915" y="463445"/>
                    <a:pt x="4804175" y="1134258"/>
                  </a:cubicBezTo>
                  <a:cubicBezTo>
                    <a:pt x="5291694" y="1694109"/>
                    <a:pt x="5723899" y="2516643"/>
                    <a:pt x="5411838" y="3362353"/>
                  </a:cubicBezTo>
                  <a:cubicBezTo>
                    <a:pt x="4993181" y="4496612"/>
                    <a:pt x="5178268" y="4716633"/>
                    <a:pt x="4601621" y="5293280"/>
                  </a:cubicBezTo>
                  <a:cubicBezTo>
                    <a:pt x="4024863" y="5869926"/>
                    <a:pt x="3361551" y="6130481"/>
                    <a:pt x="2481577" y="6130481"/>
                  </a:cubicBezTo>
                  <a:cubicBezTo>
                    <a:pt x="1609329" y="6130481"/>
                    <a:pt x="818932" y="5780127"/>
                    <a:pt x="243517" y="5212325"/>
                  </a:cubicBezTo>
                  <a:cubicBezTo>
                    <a:pt x="170302" y="5140091"/>
                    <a:pt x="100568" y="5064339"/>
                    <a:pt x="34587" y="4985345"/>
                  </a:cubicBezTo>
                  <a:lnTo>
                    <a:pt x="0" y="4939620"/>
                  </a:lnTo>
                  <a:lnTo>
                    <a:pt x="0" y="3799573"/>
                  </a:lnTo>
                  <a:lnTo>
                    <a:pt x="64364" y="3974159"/>
                  </a:lnTo>
                  <a:cubicBezTo>
                    <a:pt x="198841" y="4289243"/>
                    <a:pt x="391429" y="4571632"/>
                    <a:pt x="636644" y="4813600"/>
                  </a:cubicBezTo>
                  <a:cubicBezTo>
                    <a:pt x="1131328" y="5301566"/>
                    <a:pt x="1786578" y="5570406"/>
                    <a:pt x="2481577" y="5570406"/>
                  </a:cubicBezTo>
                  <a:cubicBezTo>
                    <a:pt x="2854550" y="5570406"/>
                    <a:pt x="3171314" y="5516996"/>
                    <a:pt x="3449896" y="5407153"/>
                  </a:cubicBezTo>
                  <a:cubicBezTo>
                    <a:pt x="3723103" y="5299438"/>
                    <a:pt x="3970333" y="5132603"/>
                    <a:pt x="4205695" y="4897241"/>
                  </a:cubicBezTo>
                  <a:cubicBezTo>
                    <a:pt x="4369395" y="4733653"/>
                    <a:pt x="4426836" y="4637358"/>
                    <a:pt x="4461434" y="4564802"/>
                  </a:cubicBezTo>
                  <a:cubicBezTo>
                    <a:pt x="4510701" y="4461453"/>
                    <a:pt x="4543509" y="4330784"/>
                    <a:pt x="4588969" y="4149952"/>
                  </a:cubicBezTo>
                  <a:cubicBezTo>
                    <a:pt x="4646969" y="3918846"/>
                    <a:pt x="4726468" y="3602194"/>
                    <a:pt x="4886585" y="3168421"/>
                  </a:cubicBezTo>
                  <a:cubicBezTo>
                    <a:pt x="4984560" y="2902940"/>
                    <a:pt x="4981760" y="2626037"/>
                    <a:pt x="4877964" y="2321590"/>
                  </a:cubicBezTo>
                  <a:cubicBezTo>
                    <a:pt x="4786260" y="2052526"/>
                    <a:pt x="4614834" y="1769129"/>
                    <a:pt x="4382048" y="1501856"/>
                  </a:cubicBezTo>
                  <a:cubicBezTo>
                    <a:pt x="4110072" y="1189683"/>
                    <a:pt x="3838544" y="962832"/>
                    <a:pt x="3551900" y="808425"/>
                  </a:cubicBezTo>
                  <a:cubicBezTo>
                    <a:pt x="3241183" y="641141"/>
                    <a:pt x="2913222" y="559851"/>
                    <a:pt x="2549095" y="559851"/>
                  </a:cubicBezTo>
                  <a:cubicBezTo>
                    <a:pt x="2253830" y="559851"/>
                    <a:pt x="1988013" y="640134"/>
                    <a:pt x="1712566" y="812008"/>
                  </a:cubicBezTo>
                  <a:cubicBezTo>
                    <a:pt x="1428385" y="989593"/>
                    <a:pt x="1158313" y="1250707"/>
                    <a:pt x="906044" y="1502976"/>
                  </a:cubicBezTo>
                  <a:cubicBezTo>
                    <a:pt x="788140" y="1620769"/>
                    <a:pt x="671579" y="1727700"/>
                    <a:pt x="558825" y="1831049"/>
                  </a:cubicBezTo>
                  <a:cubicBezTo>
                    <a:pt x="340371" y="2031140"/>
                    <a:pt x="151813" y="2204022"/>
                    <a:pt x="25063" y="2389556"/>
                  </a:cubicBezTo>
                  <a:lnTo>
                    <a:pt x="0" y="2432109"/>
                  </a:lnTo>
                  <a:lnTo>
                    <a:pt x="0" y="1587383"/>
                  </a:lnTo>
                  <a:lnTo>
                    <a:pt x="76951" y="1513741"/>
                  </a:lnTo>
                  <a:cubicBezTo>
                    <a:pt x="217918" y="1383294"/>
                    <a:pt x="365956" y="1251435"/>
                    <a:pt x="510118" y="1107273"/>
                  </a:cubicBezTo>
                  <a:cubicBezTo>
                    <a:pt x="1086764" y="530627"/>
                    <a:pt x="1669121" y="0"/>
                    <a:pt x="2549095"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 name="Freeform: Shape 25">
              <a:extLst>
                <a:ext uri="{FF2B5EF4-FFF2-40B4-BE49-F238E27FC236}">
                  <a16:creationId xmlns:a16="http://schemas.microsoft.com/office/drawing/2014/main" id="{86EC10A5-CDE7-270E-7B18-AA6C662BAD9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0"/>
              <a:ext cx="5646974" cy="6483075"/>
            </a:xfrm>
            <a:custGeom>
              <a:avLst/>
              <a:gdLst>
                <a:gd name="connsiteX0" fmla="*/ 2405773 w 5646974"/>
                <a:gd name="connsiteY0" fmla="*/ 0 h 6483075"/>
                <a:gd name="connsiteX1" fmla="*/ 5646974 w 5646974"/>
                <a:gd name="connsiteY1" fmla="*/ 3241538 h 6483075"/>
                <a:gd name="connsiteX2" fmla="*/ 2405773 w 5646974"/>
                <a:gd name="connsiteY2" fmla="*/ 6483075 h 6483075"/>
                <a:gd name="connsiteX3" fmla="*/ 113897 w 5646974"/>
                <a:gd name="connsiteY3" fmla="*/ 5533666 h 6483075"/>
                <a:gd name="connsiteX4" fmla="*/ 0 w 5646974"/>
                <a:gd name="connsiteY4" fmla="*/ 5408336 h 6483075"/>
                <a:gd name="connsiteX5" fmla="*/ 0 w 5646974"/>
                <a:gd name="connsiteY5" fmla="*/ 4983659 h 6483075"/>
                <a:gd name="connsiteX6" fmla="*/ 155731 w 5646974"/>
                <a:gd name="connsiteY6" fmla="*/ 5176047 h 6483075"/>
                <a:gd name="connsiteX7" fmla="*/ 1093706 w 5646974"/>
                <a:gd name="connsiteY7" fmla="*/ 5866903 h 6483075"/>
                <a:gd name="connsiteX8" fmla="*/ 1639673 w 5646974"/>
                <a:gd name="connsiteY8" fmla="*/ 6059940 h 6483075"/>
                <a:gd name="connsiteX9" fmla="*/ 1709990 w 5646974"/>
                <a:gd name="connsiteY9" fmla="*/ 6076287 h 6483075"/>
                <a:gd name="connsiteX10" fmla="*/ 1780307 w 5646974"/>
                <a:gd name="connsiteY10" fmla="*/ 6091963 h 6483075"/>
                <a:gd name="connsiteX11" fmla="*/ 1851072 w 5646974"/>
                <a:gd name="connsiteY11" fmla="*/ 6105176 h 6483075"/>
                <a:gd name="connsiteX12" fmla="*/ 1886455 w 5646974"/>
                <a:gd name="connsiteY12" fmla="*/ 6111782 h 6483075"/>
                <a:gd name="connsiteX13" fmla="*/ 1921949 w 5646974"/>
                <a:gd name="connsiteY13" fmla="*/ 6117716 h 6483075"/>
                <a:gd name="connsiteX14" fmla="*/ 2064152 w 5646974"/>
                <a:gd name="connsiteY14" fmla="*/ 6137647 h 6483075"/>
                <a:gd name="connsiteX15" fmla="*/ 2206914 w 5646974"/>
                <a:gd name="connsiteY15" fmla="*/ 6151195 h 6483075"/>
                <a:gd name="connsiteX16" fmla="*/ 2350011 w 5646974"/>
                <a:gd name="connsiteY16" fmla="*/ 6158250 h 6483075"/>
                <a:gd name="connsiteX17" fmla="*/ 2493109 w 5646974"/>
                <a:gd name="connsiteY17" fmla="*/ 6159705 h 6483075"/>
                <a:gd name="connsiteX18" fmla="*/ 2781321 w 5646974"/>
                <a:gd name="connsiteY18" fmla="*/ 6147277 h 6483075"/>
                <a:gd name="connsiteX19" fmla="*/ 3345091 w 5646974"/>
                <a:gd name="connsiteY19" fmla="*/ 6060276 h 6483075"/>
                <a:gd name="connsiteX20" fmla="*/ 3878853 w 5646974"/>
                <a:gd name="connsiteY20" fmla="*/ 5871718 h 6483075"/>
                <a:gd name="connsiteX21" fmla="*/ 4367267 w 5646974"/>
                <a:gd name="connsiteY21" fmla="*/ 5573093 h 6483075"/>
                <a:gd name="connsiteX22" fmla="*/ 4424484 w 5646974"/>
                <a:gd name="connsiteY22" fmla="*/ 5528529 h 6483075"/>
                <a:gd name="connsiteX23" fmla="*/ 4481252 w 5646974"/>
                <a:gd name="connsiteY23" fmla="*/ 5483069 h 6483075"/>
                <a:gd name="connsiteX24" fmla="*/ 4536790 w 5646974"/>
                <a:gd name="connsiteY24" fmla="*/ 5435818 h 6483075"/>
                <a:gd name="connsiteX25" fmla="*/ 4591543 w 5646974"/>
                <a:gd name="connsiteY25" fmla="*/ 5387671 h 6483075"/>
                <a:gd name="connsiteX26" fmla="*/ 4794209 w 5646974"/>
                <a:gd name="connsiteY26" fmla="*/ 5181198 h 6483075"/>
                <a:gd name="connsiteX27" fmla="*/ 4956678 w 5646974"/>
                <a:gd name="connsiteY27" fmla="*/ 4945836 h 6483075"/>
                <a:gd name="connsiteX28" fmla="*/ 4989262 w 5646974"/>
                <a:gd name="connsiteY28" fmla="*/ 4881453 h 6483075"/>
                <a:gd name="connsiteX29" fmla="*/ 5017814 w 5646974"/>
                <a:gd name="connsiteY29" fmla="*/ 4814607 h 6483075"/>
                <a:gd name="connsiteX30" fmla="*/ 5044127 w 5646974"/>
                <a:gd name="connsiteY30" fmla="*/ 4746193 h 6483075"/>
                <a:gd name="connsiteX31" fmla="*/ 5068425 w 5646974"/>
                <a:gd name="connsiteY31" fmla="*/ 4676436 h 6483075"/>
                <a:gd name="connsiteX32" fmla="*/ 5154641 w 5646974"/>
                <a:gd name="connsiteY32" fmla="*/ 4390352 h 6483075"/>
                <a:gd name="connsiteX33" fmla="*/ 5196854 w 5646974"/>
                <a:gd name="connsiteY33" fmla="*/ 4246134 h 6483075"/>
                <a:gd name="connsiteX34" fmla="*/ 5240299 w 5646974"/>
                <a:gd name="connsiteY34" fmla="*/ 4102140 h 6483075"/>
                <a:gd name="connsiteX35" fmla="*/ 5432440 w 5646974"/>
                <a:gd name="connsiteY35" fmla="*/ 3532884 h 6483075"/>
                <a:gd name="connsiteX36" fmla="*/ 5528846 w 5646974"/>
                <a:gd name="connsiteY36" fmla="*/ 2951647 h 6483075"/>
                <a:gd name="connsiteX37" fmla="*/ 5495927 w 5646974"/>
                <a:gd name="connsiteY37" fmla="*/ 2658733 h 6483075"/>
                <a:gd name="connsiteX38" fmla="*/ 5480027 w 5646974"/>
                <a:gd name="connsiteY38" fmla="*/ 2586848 h 6483075"/>
                <a:gd name="connsiteX39" fmla="*/ 5461328 w 5646974"/>
                <a:gd name="connsiteY39" fmla="*/ 2515635 h 6483075"/>
                <a:gd name="connsiteX40" fmla="*/ 5439605 w 5646974"/>
                <a:gd name="connsiteY40" fmla="*/ 2445317 h 6483075"/>
                <a:gd name="connsiteX41" fmla="*/ 5415532 w 5646974"/>
                <a:gd name="connsiteY41" fmla="*/ 2375896 h 6483075"/>
                <a:gd name="connsiteX42" fmla="*/ 5144564 w 5646974"/>
                <a:gd name="connsiteY42" fmla="*/ 1857138 h 6483075"/>
                <a:gd name="connsiteX43" fmla="*/ 4774838 w 5646974"/>
                <a:gd name="connsiteY43" fmla="*/ 1405450 h 6483075"/>
                <a:gd name="connsiteX44" fmla="*/ 4345769 w 5646974"/>
                <a:gd name="connsiteY44" fmla="*/ 1012323 h 6483075"/>
                <a:gd name="connsiteX45" fmla="*/ 4115334 w 5646974"/>
                <a:gd name="connsiteY45" fmla="*/ 841344 h 6483075"/>
                <a:gd name="connsiteX46" fmla="*/ 3874038 w 5646974"/>
                <a:gd name="connsiteY46" fmla="*/ 691528 h 6483075"/>
                <a:gd name="connsiteX47" fmla="*/ 3359535 w 5646974"/>
                <a:gd name="connsiteY47" fmla="*/ 468819 h 6483075"/>
                <a:gd name="connsiteX48" fmla="*/ 2811105 w 5646974"/>
                <a:gd name="connsiteY48" fmla="*/ 366031 h 6483075"/>
                <a:gd name="connsiteX49" fmla="*/ 2741124 w 5646974"/>
                <a:gd name="connsiteY49" fmla="*/ 361440 h 6483075"/>
                <a:gd name="connsiteX50" fmla="*/ 2671030 w 5646974"/>
                <a:gd name="connsiteY50" fmla="*/ 358417 h 6483075"/>
                <a:gd name="connsiteX51" fmla="*/ 2600713 w 5646974"/>
                <a:gd name="connsiteY51" fmla="*/ 357521 h 6483075"/>
                <a:gd name="connsiteX52" fmla="*/ 2531739 w 5646974"/>
                <a:gd name="connsiteY52" fmla="*/ 358529 h 6483075"/>
                <a:gd name="connsiteX53" fmla="*/ 2259988 w 5646974"/>
                <a:gd name="connsiteY53" fmla="*/ 385289 h 6483075"/>
                <a:gd name="connsiteX54" fmla="*/ 1740670 w 5646974"/>
                <a:gd name="connsiteY54" fmla="*/ 553917 h 6483075"/>
                <a:gd name="connsiteX55" fmla="*/ 1264124 w 5646974"/>
                <a:gd name="connsiteY55" fmla="*/ 853549 h 6483075"/>
                <a:gd name="connsiteX56" fmla="*/ 823074 w 5646974"/>
                <a:gd name="connsiteY56" fmla="*/ 1234136 h 6483075"/>
                <a:gd name="connsiteX57" fmla="*/ 715694 w 5646974"/>
                <a:gd name="connsiteY57" fmla="*/ 1336252 h 6483075"/>
                <a:gd name="connsiteX58" fmla="*/ 606859 w 5646974"/>
                <a:gd name="connsiteY58" fmla="*/ 1440945 h 6483075"/>
                <a:gd name="connsiteX59" fmla="*/ 382023 w 5646974"/>
                <a:gd name="connsiteY59" fmla="*/ 1646074 h 6483075"/>
                <a:gd name="connsiteX60" fmla="*/ 158531 w 5646974"/>
                <a:gd name="connsiteY60" fmla="*/ 1843813 h 6483075"/>
                <a:gd name="connsiteX61" fmla="*/ 0 w 5646974"/>
                <a:gd name="connsiteY61" fmla="*/ 1991775 h 6483075"/>
                <a:gd name="connsiteX62" fmla="*/ 0 w 5646974"/>
                <a:gd name="connsiteY62" fmla="*/ 1074740 h 6483075"/>
                <a:gd name="connsiteX63" fmla="*/ 113897 w 5646974"/>
                <a:gd name="connsiteY63" fmla="*/ 949410 h 6483075"/>
                <a:gd name="connsiteX64" fmla="*/ 2405773 w 5646974"/>
                <a:gd name="connsiteY64" fmla="*/ 0 h 648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646974" h="6483075">
                  <a:moveTo>
                    <a:pt x="2405773" y="0"/>
                  </a:moveTo>
                  <a:cubicBezTo>
                    <a:pt x="4195841" y="0"/>
                    <a:pt x="5646974" y="1451246"/>
                    <a:pt x="5646974" y="3241538"/>
                  </a:cubicBezTo>
                  <a:cubicBezTo>
                    <a:pt x="5646974" y="5031830"/>
                    <a:pt x="4195841" y="6483075"/>
                    <a:pt x="2405773" y="6483075"/>
                  </a:cubicBezTo>
                  <a:cubicBezTo>
                    <a:pt x="1510739" y="6483075"/>
                    <a:pt x="700439" y="6120264"/>
                    <a:pt x="113897" y="5533666"/>
                  </a:cubicBezTo>
                  <a:lnTo>
                    <a:pt x="0" y="5408336"/>
                  </a:lnTo>
                  <a:lnTo>
                    <a:pt x="0" y="4983659"/>
                  </a:lnTo>
                  <a:lnTo>
                    <a:pt x="155731" y="5176047"/>
                  </a:lnTo>
                  <a:cubicBezTo>
                    <a:pt x="417742" y="5469073"/>
                    <a:pt x="741224" y="5704211"/>
                    <a:pt x="1093706" y="5866903"/>
                  </a:cubicBezTo>
                  <a:cubicBezTo>
                    <a:pt x="1269947" y="5948418"/>
                    <a:pt x="1453018" y="6013137"/>
                    <a:pt x="1639673" y="6059940"/>
                  </a:cubicBezTo>
                  <a:lnTo>
                    <a:pt x="1709990" y="6076287"/>
                  </a:lnTo>
                  <a:cubicBezTo>
                    <a:pt x="1733504" y="6081550"/>
                    <a:pt x="1756570" y="6088156"/>
                    <a:pt x="1780307" y="6091963"/>
                  </a:cubicBezTo>
                  <a:lnTo>
                    <a:pt x="1851072" y="6105176"/>
                  </a:lnTo>
                  <a:lnTo>
                    <a:pt x="1886455" y="6111782"/>
                  </a:lnTo>
                  <a:cubicBezTo>
                    <a:pt x="1898212" y="6114021"/>
                    <a:pt x="1909969" y="6116373"/>
                    <a:pt x="1921949" y="6117716"/>
                  </a:cubicBezTo>
                  <a:cubicBezTo>
                    <a:pt x="1969425" y="6124323"/>
                    <a:pt x="2016676" y="6131489"/>
                    <a:pt x="2064152" y="6137647"/>
                  </a:cubicBezTo>
                  <a:cubicBezTo>
                    <a:pt x="2111851" y="6141790"/>
                    <a:pt x="2159438" y="6146381"/>
                    <a:pt x="2206914" y="6151195"/>
                  </a:cubicBezTo>
                  <a:lnTo>
                    <a:pt x="2350011" y="6158250"/>
                  </a:lnTo>
                  <a:cubicBezTo>
                    <a:pt x="2397711" y="6159593"/>
                    <a:pt x="2445410" y="6159146"/>
                    <a:pt x="2493109" y="6159705"/>
                  </a:cubicBezTo>
                  <a:cubicBezTo>
                    <a:pt x="2589068" y="6158137"/>
                    <a:pt x="2685922" y="6154666"/>
                    <a:pt x="2781321" y="6147277"/>
                  </a:cubicBezTo>
                  <a:cubicBezTo>
                    <a:pt x="2972566" y="6132944"/>
                    <a:pt x="3161348" y="6105288"/>
                    <a:pt x="3345091" y="6060276"/>
                  </a:cubicBezTo>
                  <a:cubicBezTo>
                    <a:pt x="3528834" y="6015375"/>
                    <a:pt x="3707539" y="5952785"/>
                    <a:pt x="3878853" y="5871718"/>
                  </a:cubicBezTo>
                  <a:cubicBezTo>
                    <a:pt x="4050167" y="5790428"/>
                    <a:pt x="4213084" y="5689318"/>
                    <a:pt x="4367267" y="5573093"/>
                  </a:cubicBezTo>
                  <a:lnTo>
                    <a:pt x="4424484" y="5528529"/>
                  </a:lnTo>
                  <a:cubicBezTo>
                    <a:pt x="4443631" y="5513637"/>
                    <a:pt x="4463113" y="5499193"/>
                    <a:pt x="4481252" y="5483069"/>
                  </a:cubicBezTo>
                  <a:lnTo>
                    <a:pt x="4536790" y="5435818"/>
                  </a:lnTo>
                  <a:cubicBezTo>
                    <a:pt x="4555265" y="5419918"/>
                    <a:pt x="4574188" y="5404466"/>
                    <a:pt x="4591543" y="5387671"/>
                  </a:cubicBezTo>
                  <a:cubicBezTo>
                    <a:pt x="4662980" y="5321944"/>
                    <a:pt x="4733074" y="5254650"/>
                    <a:pt x="4794209" y="5181198"/>
                  </a:cubicBezTo>
                  <a:cubicBezTo>
                    <a:pt x="4857808" y="5109089"/>
                    <a:pt x="4910434" y="5029926"/>
                    <a:pt x="4956678" y="4945836"/>
                  </a:cubicBezTo>
                  <a:cubicBezTo>
                    <a:pt x="4967651" y="4924450"/>
                    <a:pt x="4978624" y="4903064"/>
                    <a:pt x="4989262" y="4881453"/>
                  </a:cubicBezTo>
                  <a:lnTo>
                    <a:pt x="5017814" y="4814607"/>
                  </a:lnTo>
                  <a:cubicBezTo>
                    <a:pt x="5027891" y="4792549"/>
                    <a:pt x="5035393" y="4769035"/>
                    <a:pt x="5044127" y="4746193"/>
                  </a:cubicBezTo>
                  <a:cubicBezTo>
                    <a:pt x="5052636" y="4723128"/>
                    <a:pt x="5061146" y="4700174"/>
                    <a:pt x="5068425" y="4676436"/>
                  </a:cubicBezTo>
                  <a:cubicBezTo>
                    <a:pt x="5099552" y="4582717"/>
                    <a:pt x="5126985" y="4486422"/>
                    <a:pt x="5154641" y="4390352"/>
                  </a:cubicBezTo>
                  <a:lnTo>
                    <a:pt x="5196854" y="4246134"/>
                  </a:lnTo>
                  <a:lnTo>
                    <a:pt x="5240299" y="4102140"/>
                  </a:lnTo>
                  <a:cubicBezTo>
                    <a:pt x="5299195" y="3910560"/>
                    <a:pt x="5364697" y="3721330"/>
                    <a:pt x="5432440" y="3532884"/>
                  </a:cubicBezTo>
                  <a:cubicBezTo>
                    <a:pt x="5500294" y="3346902"/>
                    <a:pt x="5533549" y="3148714"/>
                    <a:pt x="5528846" y="2951647"/>
                  </a:cubicBezTo>
                  <a:cubicBezTo>
                    <a:pt x="5526831" y="2853113"/>
                    <a:pt x="5515409" y="2755027"/>
                    <a:pt x="5495927" y="2658733"/>
                  </a:cubicBezTo>
                  <a:cubicBezTo>
                    <a:pt x="5491112" y="2634659"/>
                    <a:pt x="5486297" y="2610585"/>
                    <a:pt x="5480027" y="2586848"/>
                  </a:cubicBezTo>
                  <a:cubicBezTo>
                    <a:pt x="5474205" y="2562998"/>
                    <a:pt x="5468718" y="2539036"/>
                    <a:pt x="5461328" y="2515635"/>
                  </a:cubicBezTo>
                  <a:cubicBezTo>
                    <a:pt x="5454386" y="2492009"/>
                    <a:pt x="5447668" y="2468495"/>
                    <a:pt x="5439605" y="2445317"/>
                  </a:cubicBezTo>
                  <a:cubicBezTo>
                    <a:pt x="5431879" y="2422028"/>
                    <a:pt x="5424378" y="2398738"/>
                    <a:pt x="5415532" y="2375896"/>
                  </a:cubicBezTo>
                  <a:cubicBezTo>
                    <a:pt x="5347790" y="2191817"/>
                    <a:pt x="5254071" y="2018599"/>
                    <a:pt x="5144564" y="1857138"/>
                  </a:cubicBezTo>
                  <a:cubicBezTo>
                    <a:pt x="5034946" y="1695565"/>
                    <a:pt x="4909762" y="1545301"/>
                    <a:pt x="4774838" y="1405450"/>
                  </a:cubicBezTo>
                  <a:cubicBezTo>
                    <a:pt x="4638907" y="1265040"/>
                    <a:pt x="4496145" y="1132131"/>
                    <a:pt x="4345769" y="1012323"/>
                  </a:cubicBezTo>
                  <a:cubicBezTo>
                    <a:pt x="4270749" y="952195"/>
                    <a:pt x="4194273" y="894642"/>
                    <a:pt x="4115334" y="841344"/>
                  </a:cubicBezTo>
                  <a:cubicBezTo>
                    <a:pt x="4037067" y="787263"/>
                    <a:pt x="3956336" y="737548"/>
                    <a:pt x="3874038" y="691528"/>
                  </a:cubicBezTo>
                  <a:cubicBezTo>
                    <a:pt x="3709554" y="599712"/>
                    <a:pt x="3537792" y="523349"/>
                    <a:pt x="3359535" y="468819"/>
                  </a:cubicBezTo>
                  <a:cubicBezTo>
                    <a:pt x="3181278" y="414514"/>
                    <a:pt x="2997311" y="380699"/>
                    <a:pt x="2811105" y="366031"/>
                  </a:cubicBezTo>
                  <a:cubicBezTo>
                    <a:pt x="2787703" y="364575"/>
                    <a:pt x="2764525" y="362448"/>
                    <a:pt x="2741124" y="361440"/>
                  </a:cubicBezTo>
                  <a:lnTo>
                    <a:pt x="2671030" y="358417"/>
                  </a:lnTo>
                  <a:lnTo>
                    <a:pt x="2600713" y="357521"/>
                  </a:lnTo>
                  <a:cubicBezTo>
                    <a:pt x="2577087" y="356961"/>
                    <a:pt x="2554805" y="358305"/>
                    <a:pt x="2531739" y="358529"/>
                  </a:cubicBezTo>
                  <a:cubicBezTo>
                    <a:pt x="2440259" y="360992"/>
                    <a:pt x="2349564" y="370285"/>
                    <a:pt x="2259988" y="385289"/>
                  </a:cubicBezTo>
                  <a:cubicBezTo>
                    <a:pt x="2080723" y="415521"/>
                    <a:pt x="1906945" y="473634"/>
                    <a:pt x="1740670" y="553917"/>
                  </a:cubicBezTo>
                  <a:cubicBezTo>
                    <a:pt x="1574506" y="634647"/>
                    <a:pt x="1415844" y="737100"/>
                    <a:pt x="1264124" y="853549"/>
                  </a:cubicBezTo>
                  <a:cubicBezTo>
                    <a:pt x="1112181" y="969886"/>
                    <a:pt x="966508" y="1099212"/>
                    <a:pt x="823074" y="1234136"/>
                  </a:cubicBezTo>
                  <a:cubicBezTo>
                    <a:pt x="787131" y="1267951"/>
                    <a:pt x="751413" y="1301990"/>
                    <a:pt x="715694" y="1336252"/>
                  </a:cubicBezTo>
                  <a:lnTo>
                    <a:pt x="606859" y="1440945"/>
                  </a:lnTo>
                  <a:cubicBezTo>
                    <a:pt x="532623" y="1511374"/>
                    <a:pt x="457267" y="1579452"/>
                    <a:pt x="382023" y="1646074"/>
                  </a:cubicBezTo>
                  <a:lnTo>
                    <a:pt x="158531" y="1843813"/>
                  </a:lnTo>
                  <a:lnTo>
                    <a:pt x="0" y="1991775"/>
                  </a:lnTo>
                  <a:lnTo>
                    <a:pt x="0" y="1074740"/>
                  </a:lnTo>
                  <a:lnTo>
                    <a:pt x="113897" y="949410"/>
                  </a:lnTo>
                  <a:cubicBezTo>
                    <a:pt x="700439" y="362812"/>
                    <a:pt x="1510739" y="0"/>
                    <a:pt x="2405773" y="0"/>
                  </a:cubicBezTo>
                  <a:close/>
                </a:path>
              </a:pathLst>
            </a:custGeom>
            <a:gradFill>
              <a:gsLst>
                <a:gs pos="2000">
                  <a:schemeClr val="bg1">
                    <a:alpha val="10000"/>
                  </a:schemeClr>
                </a:gs>
                <a:gs pos="16000">
                  <a:schemeClr val="accent6">
                    <a:alpha val="10000"/>
                  </a:schemeClr>
                </a:gs>
                <a:gs pos="100000">
                  <a:schemeClr val="bg1">
                    <a:alpha val="10000"/>
                  </a:schemeClr>
                </a:gs>
                <a:gs pos="74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2" name="Title 1">
            <a:extLst>
              <a:ext uri="{FF2B5EF4-FFF2-40B4-BE49-F238E27FC236}">
                <a16:creationId xmlns:a16="http://schemas.microsoft.com/office/drawing/2014/main" id="{931C4A6F-706A-6D0C-A986-227E934C8FD6}"/>
              </a:ext>
            </a:extLst>
          </p:cNvPr>
          <p:cNvSpPr>
            <a:spLocks noGrp="1"/>
          </p:cNvSpPr>
          <p:nvPr>
            <p:ph type="title"/>
          </p:nvPr>
        </p:nvSpPr>
        <p:spPr>
          <a:xfrm>
            <a:off x="804672" y="2053641"/>
            <a:ext cx="3669161" cy="2760098"/>
          </a:xfrm>
        </p:spPr>
        <p:txBody>
          <a:bodyPr>
            <a:normAutofit/>
          </a:bodyPr>
          <a:lstStyle/>
          <a:p>
            <a:r>
              <a:rPr lang="en-US" sz="4000">
                <a:solidFill>
                  <a:schemeClr val="tx2"/>
                </a:solidFill>
              </a:rPr>
              <a:t>Family at Risk? Make a family plan</a:t>
            </a:r>
          </a:p>
        </p:txBody>
      </p:sp>
      <p:sp>
        <p:nvSpPr>
          <p:cNvPr id="3" name="Content Placeholder 2">
            <a:extLst>
              <a:ext uri="{FF2B5EF4-FFF2-40B4-BE49-F238E27FC236}">
                <a16:creationId xmlns:a16="http://schemas.microsoft.com/office/drawing/2014/main" id="{2D798C14-2A07-B73C-9BE2-EB848033636D}"/>
              </a:ext>
            </a:extLst>
          </p:cNvPr>
          <p:cNvSpPr>
            <a:spLocks noGrp="1"/>
          </p:cNvSpPr>
          <p:nvPr>
            <p:ph idx="1"/>
          </p:nvPr>
        </p:nvSpPr>
        <p:spPr>
          <a:xfrm>
            <a:off x="6090574" y="801866"/>
            <a:ext cx="5306084" cy="5230634"/>
          </a:xfrm>
          <a:noFill/>
          <a:ln>
            <a:noFill/>
          </a:ln>
        </p:spPr>
        <p:txBody>
          <a:bodyPr anchor="ctr">
            <a:normAutofit/>
          </a:bodyPr>
          <a:lstStyle/>
          <a:p>
            <a:r>
              <a:rPr lang="en-US" sz="1800">
                <a:solidFill>
                  <a:schemeClr val="tx2"/>
                </a:solidFill>
              </a:rPr>
              <a:t>Massachusetts Planning for those with uncertain immigration status:</a:t>
            </a:r>
          </a:p>
          <a:p>
            <a:pPr lvl="1"/>
            <a:r>
              <a:rPr lang="en-US" sz="1800">
                <a:solidFill>
                  <a:schemeClr val="tx2"/>
                </a:solidFill>
                <a:hlinkClick r:id="rId2"/>
              </a:rPr>
              <a:t>https://www.mass.gov/emergency-planning-guide-for-families</a:t>
            </a:r>
            <a:endParaRPr lang="en-US" sz="1800">
              <a:solidFill>
                <a:schemeClr val="tx2"/>
              </a:solidFill>
            </a:endParaRPr>
          </a:p>
          <a:p>
            <a:r>
              <a:rPr lang="en-US" sz="1800">
                <a:solidFill>
                  <a:schemeClr val="tx2"/>
                </a:solidFill>
              </a:rPr>
              <a:t>Boston Medical Center Family Plan:</a:t>
            </a:r>
          </a:p>
          <a:p>
            <a:pPr lvl="1"/>
            <a:r>
              <a:rPr lang="en-US" sz="1800">
                <a:solidFill>
                  <a:schemeClr val="tx2"/>
                </a:solidFill>
                <a:hlinkClick r:id="rId3"/>
              </a:rPr>
              <a:t>https://www.bmc.org/sites/default/files/Patient_Care/Specialty_Care/IRHP/family_preparedness_plan.pdf</a:t>
            </a:r>
            <a:endParaRPr lang="en-US" sz="1800">
              <a:solidFill>
                <a:schemeClr val="tx2"/>
              </a:solidFill>
            </a:endParaRPr>
          </a:p>
        </p:txBody>
      </p:sp>
      <p:sp>
        <p:nvSpPr>
          <p:cNvPr id="5" name="TextBox 4">
            <a:extLst>
              <a:ext uri="{FF2B5EF4-FFF2-40B4-BE49-F238E27FC236}">
                <a16:creationId xmlns:a16="http://schemas.microsoft.com/office/drawing/2014/main" id="{1FBA3E08-BB29-0D61-5413-3A6C9196F4F0}"/>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26481058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FC988-417E-BF46-2696-1E5B7F4C996C}"/>
              </a:ext>
            </a:extLst>
          </p:cNvPr>
          <p:cNvSpPr>
            <a:spLocks noGrp="1"/>
          </p:cNvSpPr>
          <p:nvPr>
            <p:ph type="title"/>
          </p:nvPr>
        </p:nvSpPr>
        <p:spPr/>
        <p:txBody>
          <a:bodyPr/>
          <a:lstStyle/>
          <a:p>
            <a:r>
              <a:rPr lang="en-US"/>
              <a:t>Resources</a:t>
            </a:r>
          </a:p>
        </p:txBody>
      </p:sp>
      <p:sp>
        <p:nvSpPr>
          <p:cNvPr id="3" name="Content Placeholder 2">
            <a:extLst>
              <a:ext uri="{FF2B5EF4-FFF2-40B4-BE49-F238E27FC236}">
                <a16:creationId xmlns:a16="http://schemas.microsoft.com/office/drawing/2014/main" id="{B859DAA2-5255-98D0-58F2-C9CC321C5669}"/>
              </a:ext>
            </a:extLst>
          </p:cNvPr>
          <p:cNvSpPr>
            <a:spLocks noGrp="1"/>
          </p:cNvSpPr>
          <p:nvPr>
            <p:ph sz="quarter" idx="11"/>
          </p:nvPr>
        </p:nvSpPr>
        <p:spPr>
          <a:xfrm>
            <a:off x="554735" y="1514475"/>
            <a:ext cx="5438775" cy="4062651"/>
          </a:xfrm>
        </p:spPr>
        <p:txBody>
          <a:bodyPr/>
          <a:lstStyle/>
          <a:p>
            <a:endParaRPr lang="en-US">
              <a:hlinkClick r:id="rId2"/>
            </a:endParaRPr>
          </a:p>
          <a:p>
            <a:r>
              <a:rPr lang="en-US">
                <a:hlinkClick r:id="rId2"/>
              </a:rPr>
              <a:t>Resources for Immigrants in Massachusetts | Mass.gov</a:t>
            </a:r>
            <a:r>
              <a:rPr lang="en-US"/>
              <a:t> – Ag’s office website about family planning and non-discrimination, including worker’s rights</a:t>
            </a:r>
          </a:p>
          <a:p>
            <a:endParaRPr lang="en-US"/>
          </a:p>
          <a:p>
            <a:r>
              <a:rPr lang="en-US"/>
              <a:t>ORI’s toolkit:  </a:t>
            </a:r>
            <a:r>
              <a:rPr lang="en-US">
                <a:hlinkClick r:id="rId3"/>
              </a:rPr>
              <a:t>Community Resource Toolkit | Mass.gov</a:t>
            </a:r>
            <a:r>
              <a:rPr lang="en-US"/>
              <a:t> – Spanish, Haitian Creole, Portuguese family planning forms.</a:t>
            </a:r>
          </a:p>
          <a:p>
            <a:endParaRPr lang="en-US"/>
          </a:p>
          <a:p>
            <a:r>
              <a:rPr lang="en-US">
                <a:hlinkClick r:id="rId4"/>
              </a:rPr>
              <a:t>Emergency Planning Guide for Families | Mass.gov</a:t>
            </a:r>
            <a:r>
              <a:rPr lang="en-US"/>
              <a:t> – provides further documents and resources</a:t>
            </a:r>
          </a:p>
          <a:p>
            <a:endParaRPr lang="en-US"/>
          </a:p>
        </p:txBody>
      </p:sp>
      <p:pic>
        <p:nvPicPr>
          <p:cNvPr id="8" name="Content Placeholder 7" descr="Empty chairs in jury box">
            <a:extLst>
              <a:ext uri="{FF2B5EF4-FFF2-40B4-BE49-F238E27FC236}">
                <a16:creationId xmlns:a16="http://schemas.microsoft.com/office/drawing/2014/main" id="{D467FCD4-9EC5-8082-7738-79ADF9C73A0C}"/>
              </a:ext>
            </a:extLst>
          </p:cNvPr>
          <p:cNvPicPr>
            <a:picLocks noGrp="1" noChangeAspect="1"/>
          </p:cNvPicPr>
          <p:nvPr>
            <p:ph sz="quarter" idx="12"/>
          </p:nvPr>
        </p:nvPicPr>
        <p:blipFill>
          <a:blip r:embed="rId5">
            <a:extLst>
              <a:ext uri="{28A0092B-C50C-407E-A947-70E740481C1C}">
                <a14:useLocalDpi xmlns:a14="http://schemas.microsoft.com/office/drawing/2010/main" val="0"/>
              </a:ext>
            </a:extLst>
          </a:blip>
          <a:stretch>
            <a:fillRect/>
          </a:stretch>
        </p:blipFill>
        <p:spPr>
          <a:xfrm>
            <a:off x="6199188" y="1575940"/>
            <a:ext cx="5438775" cy="4601575"/>
          </a:xfrm>
        </p:spPr>
      </p:pic>
      <p:sp>
        <p:nvSpPr>
          <p:cNvPr id="6" name="Text Placeholder 5">
            <a:extLst>
              <a:ext uri="{FF2B5EF4-FFF2-40B4-BE49-F238E27FC236}">
                <a16:creationId xmlns:a16="http://schemas.microsoft.com/office/drawing/2014/main" id="{18B1D83F-E8D4-C7C6-7DE5-1413FB28BF89}"/>
              </a:ext>
            </a:extLst>
          </p:cNvPr>
          <p:cNvSpPr>
            <a:spLocks noGrp="1"/>
          </p:cNvSpPr>
          <p:nvPr>
            <p:ph type="body" sz="quarter" idx="13"/>
          </p:nvPr>
        </p:nvSpPr>
        <p:spPr/>
        <p:txBody>
          <a:bodyPr/>
          <a:lstStyle/>
          <a:p>
            <a:r>
              <a:rPr lang="en-US"/>
              <a:t>Many family planning documents can be done without an attorney</a:t>
            </a:r>
          </a:p>
        </p:txBody>
      </p:sp>
    </p:spTree>
    <p:extLst>
      <p:ext uri="{BB962C8B-B14F-4D97-AF65-F5344CB8AC3E}">
        <p14:creationId xmlns:p14="http://schemas.microsoft.com/office/powerpoint/2010/main" val="12892940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569D02-2016-27C3-F3F8-24F1B333C7F7}"/>
              </a:ext>
            </a:extLst>
          </p:cNvPr>
          <p:cNvSpPr>
            <a:spLocks noGrp="1"/>
          </p:cNvSpPr>
          <p:nvPr>
            <p:ph type="title"/>
          </p:nvPr>
        </p:nvSpPr>
        <p:spPr>
          <a:xfrm>
            <a:off x="554736" y="172212"/>
            <a:ext cx="10602418" cy="731520"/>
          </a:xfrm>
        </p:spPr>
        <p:txBody>
          <a:bodyPr wrap="square" anchor="b">
            <a:normAutofit/>
          </a:bodyPr>
          <a:lstStyle/>
          <a:p>
            <a:r>
              <a:rPr lang="en-US"/>
              <a:t>Immigration Legal Resources</a:t>
            </a:r>
          </a:p>
        </p:txBody>
      </p:sp>
      <p:sp>
        <p:nvSpPr>
          <p:cNvPr id="9" name="Text Placeholder 3">
            <a:extLst>
              <a:ext uri="{FF2B5EF4-FFF2-40B4-BE49-F238E27FC236}">
                <a16:creationId xmlns:a16="http://schemas.microsoft.com/office/drawing/2014/main" id="{FCF8E94B-FBE0-CB22-5744-0CAC3D227A4D}"/>
              </a:ext>
            </a:extLst>
          </p:cNvPr>
          <p:cNvSpPr>
            <a:spLocks noGrp="1"/>
          </p:cNvSpPr>
          <p:nvPr>
            <p:ph type="body" sz="quarter" idx="12"/>
          </p:nvPr>
        </p:nvSpPr>
        <p:spPr>
          <a:xfrm>
            <a:off x="554037" y="1101337"/>
            <a:ext cx="11082528" cy="276999"/>
          </a:xfrm>
        </p:spPr>
        <p:txBody>
          <a:bodyPr/>
          <a:lstStyle/>
          <a:p>
            <a:r>
              <a:rPr lang="en-US"/>
              <a:t>It may take time to find a provider, please use trusted providers and check references.</a:t>
            </a:r>
          </a:p>
        </p:txBody>
      </p:sp>
      <p:graphicFrame>
        <p:nvGraphicFramePr>
          <p:cNvPr id="5" name="Content Placeholder 1">
            <a:extLst>
              <a:ext uri="{FF2B5EF4-FFF2-40B4-BE49-F238E27FC236}">
                <a16:creationId xmlns:a16="http://schemas.microsoft.com/office/drawing/2014/main" id="{50D0E624-119F-961A-6B70-E0F62AA1B46E}"/>
              </a:ext>
            </a:extLst>
          </p:cNvPr>
          <p:cNvGraphicFramePr>
            <a:graphicFrameLocks noGrp="1"/>
          </p:cNvGraphicFramePr>
          <p:nvPr>
            <p:ph sz="quarter" idx="11"/>
            <p:extLst>
              <p:ext uri="{D42A27DB-BD31-4B8C-83A1-F6EECF244321}">
                <p14:modId xmlns:p14="http://schemas.microsoft.com/office/powerpoint/2010/main" val="1531424687"/>
              </p:ext>
            </p:extLst>
          </p:nvPr>
        </p:nvGraphicFramePr>
        <p:xfrm>
          <a:off x="427037" y="1376892"/>
          <a:ext cx="11082528" cy="4857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A14622A7-6C56-C14D-DFA6-ED5219939783}"/>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2548875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59"/>
          <p:cNvSpPr txBox="1">
            <a:spLocks noGrp="1"/>
          </p:cNvSpPr>
          <p:nvPr>
            <p:ph type="title"/>
          </p:nvPr>
        </p:nvSpPr>
        <p:spPr>
          <a:xfrm>
            <a:off x="2900555" y="2305878"/>
            <a:ext cx="8181508" cy="1835513"/>
          </a:xfrm>
          <a:prstGeom prst="rect">
            <a:avLst/>
          </a:prstGeom>
          <a:noFill/>
          <a:ln>
            <a:noFill/>
          </a:ln>
        </p:spPr>
        <p:txBody>
          <a:bodyPr spcFirstLastPara="1" wrap="square" lIns="91433" tIns="45700" rIns="91433" bIns="45700" anchor="b" anchorCtr="0">
            <a:normAutofit fontScale="90000"/>
          </a:bodyPr>
          <a:lstStyle/>
          <a:p>
            <a:pPr>
              <a:buSzPct val="100000"/>
            </a:pPr>
            <a:endParaRPr/>
          </a:p>
          <a:p>
            <a:pPr>
              <a:buSzPct val="100000"/>
            </a:pPr>
            <a:r>
              <a:rPr lang="en"/>
              <a:t>Interactions with Immigration Enforcement</a:t>
            </a:r>
            <a:endParaRPr/>
          </a:p>
        </p:txBody>
      </p:sp>
      <p:sp>
        <p:nvSpPr>
          <p:cNvPr id="2" name="TextBox 1">
            <a:extLst>
              <a:ext uri="{FF2B5EF4-FFF2-40B4-BE49-F238E27FC236}">
                <a16:creationId xmlns:a16="http://schemas.microsoft.com/office/drawing/2014/main" id="{E2D996F5-EEC2-81D9-5BA4-D9A951D43857}"/>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74432-30C3-B113-7131-DE651D711BB4}"/>
              </a:ext>
            </a:extLst>
          </p:cNvPr>
          <p:cNvSpPr>
            <a:spLocks noGrp="1"/>
          </p:cNvSpPr>
          <p:nvPr>
            <p:ph type="title"/>
          </p:nvPr>
        </p:nvSpPr>
        <p:spPr>
          <a:xfrm>
            <a:off x="554736" y="172212"/>
            <a:ext cx="10602418" cy="731520"/>
          </a:xfrm>
        </p:spPr>
        <p:txBody>
          <a:bodyPr vert="horz" wrap="square" lIns="0" tIns="0" rIns="0" bIns="0" rtlCol="0" anchor="b" anchorCtr="0">
            <a:normAutofit/>
          </a:bodyPr>
          <a:lstStyle/>
          <a:p>
            <a:pPr algn="ctr"/>
            <a:r>
              <a:rPr lang="en-US" sz="3600" b="1" kern="1200" spc="0" baseline="0">
                <a:ln w="6350" cap="flat">
                  <a:noFill/>
                  <a:miter lim="800000"/>
                </a:ln>
                <a:latin typeface="+mj-lt"/>
                <a:ea typeface="+mj-ea"/>
                <a:cs typeface="+mj-cs"/>
              </a:rPr>
              <a:t>Overview of ICE Authority </a:t>
            </a:r>
          </a:p>
        </p:txBody>
      </p:sp>
      <p:sp>
        <p:nvSpPr>
          <p:cNvPr id="13" name="TextBox 12">
            <a:extLst>
              <a:ext uri="{FF2B5EF4-FFF2-40B4-BE49-F238E27FC236}">
                <a16:creationId xmlns:a16="http://schemas.microsoft.com/office/drawing/2014/main" id="{6D8F3C57-727B-D186-CB2F-EEEBD5D1671C}"/>
              </a:ext>
            </a:extLst>
          </p:cNvPr>
          <p:cNvSpPr txBox="1"/>
          <p:nvPr/>
        </p:nvSpPr>
        <p:spPr>
          <a:xfrm>
            <a:off x="6531429" y="2313431"/>
            <a:ext cx="5105835" cy="3347140"/>
          </a:xfrm>
          <a:prstGeom prst="rect">
            <a:avLst/>
          </a:prstGeom>
        </p:spPr>
        <p:txBody>
          <a:bodyPr vert="horz" wrap="square" lIns="0" tIns="0" rIns="0" bIns="0" rtlCol="0" anchor="t">
            <a:normAutofit/>
          </a:bodyPr>
          <a:lstStyle/>
          <a:p>
            <a:pPr marL="228600" marR="0" lvl="0" indent="-228600" algn="l" defTabSz="914400" rtl="0" eaLnBrk="1" fontAlgn="auto" latinLnBrk="0" hangingPunct="1">
              <a:lnSpc>
                <a:spcPct val="100000"/>
              </a:lnSpc>
              <a:spcBef>
                <a:spcPts val="300"/>
              </a:spcBef>
              <a:spcAft>
                <a:spcPts val="300"/>
              </a:spcAft>
              <a:buClr>
                <a:srgbClr val="14558F"/>
              </a:buClr>
              <a:buSzPct val="110000"/>
              <a:buFont typeface="Wingdings" panose="05000000000000000000" pitchFamily="2" charset="2"/>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When carrying out its enforcement activities, ICE officers must follow different, but similar rules as other law enforcement agencies. </a:t>
            </a:r>
          </a:p>
          <a:p>
            <a:pPr marL="228600" marR="0" lvl="0" indent="-228600" algn="l" defTabSz="914400" rtl="0" eaLnBrk="1" fontAlgn="auto" latinLnBrk="0" hangingPunct="1">
              <a:lnSpc>
                <a:spcPct val="100000"/>
              </a:lnSpc>
              <a:spcBef>
                <a:spcPts val="300"/>
              </a:spcBef>
              <a:spcAft>
                <a:spcPts val="300"/>
              </a:spcAft>
              <a:buClr>
                <a:srgbClr val="14558F"/>
              </a:buClr>
              <a:buSzPct val="110000"/>
              <a:buFont typeface="Wingdings" panose="05000000000000000000" pitchFamily="2" charset="2"/>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ICE officers must adhere to constitutional restrictions, as well as restrictions set by statutes, regulations and policies.</a:t>
            </a:r>
          </a:p>
          <a:p>
            <a:pPr marL="228600" marR="0" lvl="0" indent="-228600" algn="l" defTabSz="914400" rtl="0" eaLnBrk="1" fontAlgn="auto" latinLnBrk="0" hangingPunct="1">
              <a:lnSpc>
                <a:spcPct val="100000"/>
              </a:lnSpc>
              <a:spcBef>
                <a:spcPts val="300"/>
              </a:spcBef>
              <a:spcAft>
                <a:spcPts val="300"/>
              </a:spcAft>
              <a:buClr>
                <a:srgbClr val="14558F"/>
              </a:buClr>
              <a:buSzPct val="110000"/>
              <a:buFont typeface="Wingdings" panose="05000000000000000000" pitchFamily="2" charset="2"/>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Individuals engaging with ICE have rights including: (i) the right to remain silent; and (ii) the right to an attorney – though ICE is not required to provide one. </a:t>
            </a:r>
          </a:p>
        </p:txBody>
      </p:sp>
      <p:sp>
        <p:nvSpPr>
          <p:cNvPr id="5" name="Text Placeholder 4">
            <a:extLst>
              <a:ext uri="{FF2B5EF4-FFF2-40B4-BE49-F238E27FC236}">
                <a16:creationId xmlns:a16="http://schemas.microsoft.com/office/drawing/2014/main" id="{7C59C380-78C4-B762-685D-8851ED0E60B1}"/>
              </a:ext>
            </a:extLst>
          </p:cNvPr>
          <p:cNvSpPr>
            <a:spLocks noGrp="1"/>
          </p:cNvSpPr>
          <p:nvPr>
            <p:ph type="body" sz="quarter" idx="13"/>
          </p:nvPr>
        </p:nvSpPr>
        <p:spPr>
          <a:xfrm>
            <a:off x="554037" y="1101337"/>
            <a:ext cx="11082528" cy="276999"/>
          </a:xfrm>
        </p:spPr>
        <p:txBody>
          <a:bodyPr vert="horz" wrap="square" lIns="0" tIns="0" rIns="0" bIns="0" rtlCol="0">
            <a:normAutofit/>
          </a:bodyPr>
          <a:lstStyle/>
          <a:p>
            <a:r>
              <a:rPr lang="en-US" b="1" i="1" kern="1200">
                <a:latin typeface="+mn-lt"/>
                <a:ea typeface="+mn-ea"/>
                <a:cs typeface="Arial" panose="020B0604020202020204" pitchFamily="34" charset="0"/>
              </a:rPr>
              <a:t>ICE is subject to different, but similar, rules as other Law Enforcement</a:t>
            </a:r>
          </a:p>
        </p:txBody>
      </p:sp>
      <p:sp>
        <p:nvSpPr>
          <p:cNvPr id="6" name="TextBox 5">
            <a:extLst>
              <a:ext uri="{FF2B5EF4-FFF2-40B4-BE49-F238E27FC236}">
                <a16:creationId xmlns:a16="http://schemas.microsoft.com/office/drawing/2014/main" id="{AACEF55B-6606-DE34-E9FD-23863BDC9F27}"/>
              </a:ext>
            </a:extLst>
          </p:cNvPr>
          <p:cNvSpPr txBox="1"/>
          <p:nvPr/>
        </p:nvSpPr>
        <p:spPr>
          <a:xfrm>
            <a:off x="7040880" y="2313431"/>
            <a:ext cx="4361688" cy="3443231"/>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17" name="Content Placeholder 2">
            <a:extLst>
              <a:ext uri="{FF2B5EF4-FFF2-40B4-BE49-F238E27FC236}">
                <a16:creationId xmlns:a16="http://schemas.microsoft.com/office/drawing/2014/main" id="{23CE3F4C-EAB1-8874-FAD1-927C3EE70CBE}"/>
              </a:ext>
            </a:extLst>
          </p:cNvPr>
          <p:cNvGraphicFramePr>
            <a:graphicFrameLocks noGrp="1"/>
          </p:cNvGraphicFramePr>
          <p:nvPr>
            <p:ph sz="quarter" idx="11"/>
          </p:nvPr>
        </p:nvGraphicFramePr>
        <p:xfrm>
          <a:off x="554735" y="1514475"/>
          <a:ext cx="5438775" cy="4857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8" name="TextBox 27">
            <a:extLst>
              <a:ext uri="{FF2B5EF4-FFF2-40B4-BE49-F238E27FC236}">
                <a16:creationId xmlns:a16="http://schemas.microsoft.com/office/drawing/2014/main" id="{39BF4734-7F8E-835F-0608-B1BB7674DF84}"/>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19659754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4">
            <a:extLst>
              <a:ext uri="{FF2B5EF4-FFF2-40B4-BE49-F238E27FC236}">
                <a16:creationId xmlns:a16="http://schemas.microsoft.com/office/drawing/2014/main" id="{6DB83EE8-370B-D01A-D0FB-98A28E5A3DE4}"/>
              </a:ext>
            </a:extLst>
          </p:cNvPr>
          <p:cNvGraphicFramePr>
            <a:graphicFrameLocks noGrp="1"/>
          </p:cNvGraphicFramePr>
          <p:nvPr>
            <p:ph idx="1"/>
            <p:extLst>
              <p:ext uri="{D42A27DB-BD31-4B8C-83A1-F6EECF244321}">
                <p14:modId xmlns:p14="http://schemas.microsoft.com/office/powerpoint/2010/main" val="1720036864"/>
              </p:ext>
            </p:extLst>
          </p:nvPr>
        </p:nvGraphicFramePr>
        <p:xfrm>
          <a:off x="838200" y="1293813"/>
          <a:ext cx="10515600" cy="48831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a:extLst>
              <a:ext uri="{FF2B5EF4-FFF2-40B4-BE49-F238E27FC236}">
                <a16:creationId xmlns:a16="http://schemas.microsoft.com/office/drawing/2014/main" id="{14065826-B0BC-00D3-E089-4394F1B3BFCE}"/>
              </a:ext>
            </a:extLst>
          </p:cNvPr>
          <p:cNvSpPr>
            <a:spLocks noGrp="1"/>
          </p:cNvSpPr>
          <p:nvPr>
            <p:ph type="title"/>
          </p:nvPr>
        </p:nvSpPr>
        <p:spPr/>
        <p:txBody>
          <a:bodyPr wrap="square" anchor="b">
            <a:normAutofit/>
          </a:bodyPr>
          <a:lstStyle/>
          <a:p>
            <a:pPr algn="ctr"/>
            <a:r>
              <a:rPr lang="en-US" sz="4000"/>
              <a:t>Basic Rules Surrounding ICE Authority</a:t>
            </a:r>
          </a:p>
        </p:txBody>
      </p:sp>
      <p:sp>
        <p:nvSpPr>
          <p:cNvPr id="3" name="TextBox 2">
            <a:extLst>
              <a:ext uri="{FF2B5EF4-FFF2-40B4-BE49-F238E27FC236}">
                <a16:creationId xmlns:a16="http://schemas.microsoft.com/office/drawing/2014/main" id="{6364358F-24EF-592F-132E-9E5E008AE451}"/>
              </a:ext>
            </a:extLst>
          </p:cNvPr>
          <p:cNvSpPr txBox="1"/>
          <p:nvPr/>
        </p:nvSpPr>
        <p:spPr>
          <a:xfrm>
            <a:off x="3046" y="6641693"/>
            <a:ext cx="12188169" cy="215444"/>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r>
              <a:rPr kumimoji="0" lang="en-US" sz="1400" b="1" i="0" u="none" strike="noStrike" kern="1200" cap="none" spc="0" normalizeH="0" baseline="0" noProof="0">
                <a:ln>
                  <a:noFill/>
                </a:ln>
                <a:solidFill>
                  <a:srgbClr val="000000"/>
                </a:solidFill>
                <a:effectLst/>
                <a:uLnTx/>
                <a:uFillTx/>
                <a:latin typeface="Arial"/>
                <a:ea typeface="+mn-ea"/>
                <a:cs typeface="Arial"/>
              </a:rPr>
              <a:t>.</a:t>
            </a:r>
          </a:p>
        </p:txBody>
      </p:sp>
    </p:spTree>
    <p:extLst>
      <p:ext uri="{BB962C8B-B14F-4D97-AF65-F5344CB8AC3E}">
        <p14:creationId xmlns:p14="http://schemas.microsoft.com/office/powerpoint/2010/main" val="243170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BE66089-4B42-5B72-93FF-44CA5FF02C91}"/>
              </a:ext>
            </a:extLst>
          </p:cNvPr>
          <p:cNvSpPr>
            <a:spLocks noGrp="1"/>
          </p:cNvSpPr>
          <p:nvPr>
            <p:ph type="subTitle" idx="1"/>
          </p:nvPr>
        </p:nvSpPr>
        <p:spPr>
          <a:xfrm>
            <a:off x="2893929" y="3454055"/>
            <a:ext cx="8181508" cy="2739916"/>
          </a:xfrm>
        </p:spPr>
        <p:txBody>
          <a:bodyPr wrap="square">
            <a:normAutofit/>
          </a:bodyPr>
          <a:lstStyle/>
          <a:p>
            <a:r>
              <a:rPr lang="en-US"/>
              <a:t>Rules differ depending on location of arrest</a:t>
            </a:r>
          </a:p>
          <a:p>
            <a:r>
              <a:rPr lang="en-US"/>
              <a:t>ICE has warrant requirements and warrant exceptions</a:t>
            </a:r>
          </a:p>
        </p:txBody>
      </p:sp>
      <p:sp>
        <p:nvSpPr>
          <p:cNvPr id="5" name="Title 4">
            <a:extLst>
              <a:ext uri="{FF2B5EF4-FFF2-40B4-BE49-F238E27FC236}">
                <a16:creationId xmlns:a16="http://schemas.microsoft.com/office/drawing/2014/main" id="{99CC8D0D-1F7C-7D18-A92B-202CFA799729}"/>
              </a:ext>
            </a:extLst>
          </p:cNvPr>
          <p:cNvSpPr>
            <a:spLocks noGrp="1"/>
          </p:cNvSpPr>
          <p:nvPr>
            <p:ph type="title"/>
          </p:nvPr>
        </p:nvSpPr>
        <p:spPr/>
        <p:txBody>
          <a:bodyPr wrap="square" anchor="b">
            <a:normAutofit fontScale="90000"/>
          </a:bodyPr>
          <a:lstStyle/>
          <a:p>
            <a:r>
              <a:rPr lang="en-US"/>
              <a:t>Rules Surrounding ICE warrants</a:t>
            </a:r>
          </a:p>
        </p:txBody>
      </p:sp>
      <p:sp>
        <p:nvSpPr>
          <p:cNvPr id="2" name="TextBox 1">
            <a:extLst>
              <a:ext uri="{FF2B5EF4-FFF2-40B4-BE49-F238E27FC236}">
                <a16:creationId xmlns:a16="http://schemas.microsoft.com/office/drawing/2014/main" id="{80B1300D-7160-3CF9-FAED-809EA2B0FCDF}"/>
              </a:ext>
            </a:extLst>
          </p:cNvPr>
          <p:cNvSpPr txBox="1"/>
          <p:nvPr/>
        </p:nvSpPr>
        <p:spPr>
          <a:xfrm>
            <a:off x="3046" y="6641693"/>
            <a:ext cx="12188169" cy="215444"/>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r>
              <a:rPr kumimoji="0" lang="en-US" sz="1400" b="1" i="0" u="none" strike="noStrike" kern="1200" cap="none" spc="0" normalizeH="0" baseline="0" noProof="0">
                <a:ln>
                  <a:noFill/>
                </a:ln>
                <a:solidFill>
                  <a:srgbClr val="000000"/>
                </a:solidFill>
                <a:effectLst/>
                <a:uLnTx/>
                <a:uFillTx/>
                <a:latin typeface="Arial"/>
                <a:ea typeface="+mn-ea"/>
                <a:cs typeface="Arial"/>
              </a:rPr>
              <a:t>.</a:t>
            </a:r>
          </a:p>
        </p:txBody>
      </p:sp>
    </p:spTree>
    <p:extLst>
      <p:ext uri="{BB962C8B-B14F-4D97-AF65-F5344CB8AC3E}">
        <p14:creationId xmlns:p14="http://schemas.microsoft.com/office/powerpoint/2010/main" val="6312291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09F17FF-399E-27D2-5001-C1D5455F0C9C}"/>
              </a:ext>
            </a:extLst>
          </p:cNvPr>
          <p:cNvSpPr>
            <a:spLocks noGrp="1"/>
          </p:cNvSpPr>
          <p:nvPr>
            <p:ph type="title"/>
          </p:nvPr>
        </p:nvSpPr>
        <p:spPr>
          <a:xfrm>
            <a:off x="165100" y="160533"/>
            <a:ext cx="10733272" cy="662782"/>
          </a:xfrm>
        </p:spPr>
        <p:txBody>
          <a:bodyPr wrap="square" anchor="b">
            <a:normAutofit/>
          </a:bodyPr>
          <a:lstStyle/>
          <a:p>
            <a:r>
              <a:rPr lang="en-US"/>
              <a:t>ICE Warrant Requirements – Basic Rules</a:t>
            </a:r>
          </a:p>
        </p:txBody>
      </p:sp>
      <p:graphicFrame>
        <p:nvGraphicFramePr>
          <p:cNvPr id="10" name="Diagram 9">
            <a:extLst>
              <a:ext uri="{FF2B5EF4-FFF2-40B4-BE49-F238E27FC236}">
                <a16:creationId xmlns:a16="http://schemas.microsoft.com/office/drawing/2014/main" id="{D7CD525F-AE0F-1D31-88BB-84359DA5BB2F}"/>
              </a:ext>
            </a:extLst>
          </p:cNvPr>
          <p:cNvGraphicFramePr/>
          <p:nvPr>
            <p:extLst>
              <p:ext uri="{D42A27DB-BD31-4B8C-83A1-F6EECF244321}">
                <p14:modId xmlns:p14="http://schemas.microsoft.com/office/powerpoint/2010/main" val="2087161584"/>
              </p:ext>
            </p:extLst>
          </p:nvPr>
        </p:nvGraphicFramePr>
        <p:xfrm>
          <a:off x="838200" y="1222744"/>
          <a:ext cx="10515600" cy="49542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585B6A06-156C-C26B-72FD-F4DB6FAE5942}"/>
              </a:ext>
            </a:extLst>
          </p:cNvPr>
          <p:cNvSpPr txBox="1"/>
          <p:nvPr/>
        </p:nvSpPr>
        <p:spPr>
          <a:xfrm>
            <a:off x="3046" y="6641693"/>
            <a:ext cx="12188169" cy="215444"/>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r>
              <a:rPr kumimoji="0" lang="en-US" sz="1400" b="1" i="0" u="none" strike="noStrike" kern="1200" cap="none" spc="0" normalizeH="0" baseline="0" noProof="0">
                <a:ln>
                  <a:noFill/>
                </a:ln>
                <a:solidFill>
                  <a:srgbClr val="000000"/>
                </a:solidFill>
                <a:effectLst/>
                <a:uLnTx/>
                <a:uFillTx/>
                <a:latin typeface="Arial"/>
                <a:ea typeface="+mn-ea"/>
                <a:cs typeface="Arial"/>
              </a:rPr>
              <a:t>.</a:t>
            </a:r>
          </a:p>
        </p:txBody>
      </p:sp>
    </p:spTree>
    <p:extLst>
      <p:ext uri="{BB962C8B-B14F-4D97-AF65-F5344CB8AC3E}">
        <p14:creationId xmlns:p14="http://schemas.microsoft.com/office/powerpoint/2010/main" val="32943907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44">
          <a:extLst>
            <a:ext uri="{FF2B5EF4-FFF2-40B4-BE49-F238E27FC236}">
              <a16:creationId xmlns:a16="http://schemas.microsoft.com/office/drawing/2014/main" id="{08925517-D157-C516-5394-03FD6D734C69}"/>
            </a:ext>
          </a:extLst>
        </p:cNvPr>
        <p:cNvGrpSpPr/>
        <p:nvPr/>
      </p:nvGrpSpPr>
      <p:grpSpPr>
        <a:xfrm>
          <a:off x="0" y="0"/>
          <a:ext cx="0" cy="0"/>
          <a:chOff x="0" y="0"/>
          <a:chExt cx="0" cy="0"/>
        </a:xfrm>
      </p:grpSpPr>
      <p:sp>
        <p:nvSpPr>
          <p:cNvPr id="345" name="Google Shape;345;p56">
            <a:extLst>
              <a:ext uri="{FF2B5EF4-FFF2-40B4-BE49-F238E27FC236}">
                <a16:creationId xmlns:a16="http://schemas.microsoft.com/office/drawing/2014/main" id="{707DBDD9-032E-D548-5547-8292837B407B}"/>
              </a:ext>
            </a:extLst>
          </p:cNvPr>
          <p:cNvSpPr txBox="1">
            <a:spLocks noGrp="1"/>
          </p:cNvSpPr>
          <p:nvPr>
            <p:ph type="title"/>
          </p:nvPr>
        </p:nvSpPr>
        <p:spPr>
          <a:prstGeom prst="rect">
            <a:avLst/>
          </a:prstGeom>
          <a:noFill/>
          <a:ln>
            <a:noFill/>
          </a:ln>
        </p:spPr>
        <p:txBody>
          <a:bodyPr spcFirstLastPara="1" vert="horz" wrap="square" lIns="91433" tIns="45700" rIns="91433" bIns="45700" rtlCol="0" anchor="ctr" anchorCtr="0">
            <a:noAutofit/>
          </a:bodyPr>
          <a:lstStyle/>
          <a:p>
            <a:pPr>
              <a:buSzPts val="2700"/>
            </a:pPr>
            <a:r>
              <a:rPr lang="en-US" sz="3000"/>
              <a:t>Judicial Warrants v. ICE Administrative Warrants</a:t>
            </a:r>
          </a:p>
        </p:txBody>
      </p:sp>
      <p:pic>
        <p:nvPicPr>
          <p:cNvPr id="9" name="Content Placeholder 8">
            <a:extLst>
              <a:ext uri="{FF2B5EF4-FFF2-40B4-BE49-F238E27FC236}">
                <a16:creationId xmlns:a16="http://schemas.microsoft.com/office/drawing/2014/main" id="{1A7A548B-FA35-78C2-FD35-08AA13AFF933}"/>
              </a:ext>
            </a:extLst>
          </p:cNvPr>
          <p:cNvPicPr>
            <a:picLocks noGrp="1" noChangeAspect="1"/>
          </p:cNvPicPr>
          <p:nvPr>
            <p:ph idx="1"/>
          </p:nvPr>
        </p:nvPicPr>
        <p:blipFill>
          <a:blip r:embed="rId3"/>
          <a:stretch/>
        </p:blipFill>
        <p:spPr>
          <a:xfrm>
            <a:off x="2730716" y="2364990"/>
            <a:ext cx="6730567" cy="3761558"/>
          </a:xfrm>
        </p:spPr>
      </p:pic>
      <p:sp>
        <p:nvSpPr>
          <p:cNvPr id="11" name="TextBox 10">
            <a:extLst>
              <a:ext uri="{FF2B5EF4-FFF2-40B4-BE49-F238E27FC236}">
                <a16:creationId xmlns:a16="http://schemas.microsoft.com/office/drawing/2014/main" id="{46093C88-C1AD-5201-6B19-A90E05BF7AA6}"/>
              </a:ext>
            </a:extLst>
          </p:cNvPr>
          <p:cNvSpPr txBox="1"/>
          <p:nvPr/>
        </p:nvSpPr>
        <p:spPr>
          <a:xfrm>
            <a:off x="3048000" y="1593908"/>
            <a:ext cx="2705449" cy="49244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Arial"/>
              </a:rPr>
              <a:t>EXAMPLE OF WARRANT SIGNED BY A JUDGE </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5E15FC44-66E1-9C84-B8A7-E74C7917AD8C}"/>
              </a:ext>
            </a:extLst>
          </p:cNvPr>
          <p:cNvSpPr txBox="1"/>
          <p:nvPr/>
        </p:nvSpPr>
        <p:spPr>
          <a:xfrm>
            <a:off x="6438551" y="1223394"/>
            <a:ext cx="2705449" cy="86177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EXAMPLE OF  ICE ADMINISTRATIVE WARRANT: DOES NOT GIVE IMMIGRATION PERMISSION TO ENTER HOME</a:t>
            </a:r>
          </a:p>
        </p:txBody>
      </p:sp>
      <p:sp>
        <p:nvSpPr>
          <p:cNvPr id="3" name="TextBox 2">
            <a:extLst>
              <a:ext uri="{FF2B5EF4-FFF2-40B4-BE49-F238E27FC236}">
                <a16:creationId xmlns:a16="http://schemas.microsoft.com/office/drawing/2014/main" id="{DF689317-301F-446A-688A-2643988C9C6E}"/>
              </a:ext>
            </a:extLst>
          </p:cNvPr>
          <p:cNvSpPr txBox="1"/>
          <p:nvPr/>
        </p:nvSpPr>
        <p:spPr>
          <a:xfrm>
            <a:off x="3046" y="6641693"/>
            <a:ext cx="12188169" cy="184666"/>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42810824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80C85-B8BD-EBC0-9115-BF78CE107FE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062A7AA-4AB2-F58E-7D8B-7459B40C04D8}"/>
              </a:ext>
            </a:extLst>
          </p:cNvPr>
          <p:cNvSpPr>
            <a:spLocks noGrp="1"/>
          </p:cNvSpPr>
          <p:nvPr>
            <p:ph type="title"/>
          </p:nvPr>
        </p:nvSpPr>
        <p:spPr/>
        <p:txBody>
          <a:bodyPr/>
          <a:lstStyle/>
          <a:p>
            <a:pPr algn="ctr"/>
            <a:r>
              <a:rPr lang="en-US" sz="3600"/>
              <a:t>State Judicial Warrants</a:t>
            </a:r>
          </a:p>
        </p:txBody>
      </p:sp>
      <p:sp>
        <p:nvSpPr>
          <p:cNvPr id="6" name="Content Placeholder 5">
            <a:extLst>
              <a:ext uri="{FF2B5EF4-FFF2-40B4-BE49-F238E27FC236}">
                <a16:creationId xmlns:a16="http://schemas.microsoft.com/office/drawing/2014/main" id="{983B7BB9-E5C3-37AF-1134-DCDA26F549A6}"/>
              </a:ext>
            </a:extLst>
          </p:cNvPr>
          <p:cNvSpPr>
            <a:spLocks noGrp="1"/>
          </p:cNvSpPr>
          <p:nvPr>
            <p:ph sz="quarter" idx="11"/>
          </p:nvPr>
        </p:nvSpPr>
        <p:spPr/>
        <p:txBody>
          <a:bodyPr/>
          <a:lstStyle/>
          <a:p>
            <a:r>
              <a:rPr lang="en-US" sz="2800" b="1" i="1"/>
              <a:t>Issued by State Courts</a:t>
            </a:r>
            <a:r>
              <a:rPr lang="en-US" sz="2800"/>
              <a:t>:</a:t>
            </a:r>
          </a:p>
          <a:p>
            <a:pPr lvl="1"/>
            <a:r>
              <a:rPr lang="en-US" sz="2800" b="1"/>
              <a:t>Boston Municipal Court</a:t>
            </a:r>
          </a:p>
          <a:p>
            <a:pPr lvl="1"/>
            <a:r>
              <a:rPr lang="en-US" sz="2800" b="1"/>
              <a:t>District Court </a:t>
            </a:r>
          </a:p>
          <a:p>
            <a:pPr lvl="2"/>
            <a:r>
              <a:rPr lang="en-US" sz="2800"/>
              <a:t>(ex: Waltham, Wareham)</a:t>
            </a:r>
          </a:p>
          <a:p>
            <a:pPr lvl="1"/>
            <a:r>
              <a:rPr lang="en-US" sz="2800" b="1"/>
              <a:t>Superior Court </a:t>
            </a:r>
          </a:p>
          <a:p>
            <a:pPr lvl="2"/>
            <a:r>
              <a:rPr lang="en-US" sz="2800"/>
              <a:t>(ex: Middlesex, Suffolk)</a:t>
            </a:r>
          </a:p>
          <a:p>
            <a:pPr lvl="1"/>
            <a:r>
              <a:rPr lang="en-US" sz="2800" b="1"/>
              <a:t>NOTE</a:t>
            </a:r>
            <a:r>
              <a:rPr lang="en-US" sz="2800"/>
              <a:t> Subpoena &amp; Summons </a:t>
            </a:r>
          </a:p>
          <a:p>
            <a:pPr marL="471487" lvl="2" indent="0">
              <a:buNone/>
            </a:pPr>
            <a:r>
              <a:rPr lang="en-US" sz="2800"/>
              <a:t>are very different!</a:t>
            </a:r>
          </a:p>
          <a:p>
            <a:pPr lvl="2"/>
            <a:endParaRPr lang="en-US" sz="3600"/>
          </a:p>
          <a:p>
            <a:endParaRPr lang="en-US" sz="3200" b="1" i="1"/>
          </a:p>
        </p:txBody>
      </p:sp>
      <p:sp>
        <p:nvSpPr>
          <p:cNvPr id="8" name="Text Placeholder 7">
            <a:extLst>
              <a:ext uri="{FF2B5EF4-FFF2-40B4-BE49-F238E27FC236}">
                <a16:creationId xmlns:a16="http://schemas.microsoft.com/office/drawing/2014/main" id="{BE977594-DD5C-8F21-7CB2-C87C8F885DAF}"/>
              </a:ext>
            </a:extLst>
          </p:cNvPr>
          <p:cNvSpPr>
            <a:spLocks noGrp="1"/>
          </p:cNvSpPr>
          <p:nvPr>
            <p:ph type="body" sz="quarter" idx="12"/>
          </p:nvPr>
        </p:nvSpPr>
        <p:spPr/>
        <p:txBody>
          <a:bodyPr/>
          <a:lstStyle/>
          <a:p>
            <a:pPr algn="ctr"/>
            <a:r>
              <a:rPr lang="en-US"/>
              <a:t>State Judicial Warrants can be “arrest” or “search”</a:t>
            </a:r>
          </a:p>
        </p:txBody>
      </p:sp>
      <p:pic>
        <p:nvPicPr>
          <p:cNvPr id="10" name="Content Placeholder 9">
            <a:extLst>
              <a:ext uri="{FF2B5EF4-FFF2-40B4-BE49-F238E27FC236}">
                <a16:creationId xmlns:a16="http://schemas.microsoft.com/office/drawing/2014/main" id="{EB3C12CB-6C5B-385D-6B89-CF8428D4D46A}"/>
              </a:ext>
            </a:extLst>
          </p:cNvPr>
          <p:cNvPicPr>
            <a:picLocks noGrp="1" noChangeAspect="1"/>
          </p:cNvPicPr>
          <p:nvPr>
            <p:ph sz="quarter" idx="4294967295"/>
          </p:nvPr>
        </p:nvPicPr>
        <p:blipFill>
          <a:blip r:embed="rId2"/>
          <a:stretch>
            <a:fillRect/>
          </a:stretch>
        </p:blipFill>
        <p:spPr>
          <a:xfrm>
            <a:off x="6096000" y="1512888"/>
            <a:ext cx="5660571" cy="4164012"/>
          </a:xfrm>
        </p:spPr>
      </p:pic>
      <p:sp>
        <p:nvSpPr>
          <p:cNvPr id="7" name="TextBox 6">
            <a:extLst>
              <a:ext uri="{FF2B5EF4-FFF2-40B4-BE49-F238E27FC236}">
                <a16:creationId xmlns:a16="http://schemas.microsoft.com/office/drawing/2014/main" id="{446AA12F-9FF1-EA51-B108-A0C982C3E08D}"/>
              </a:ext>
            </a:extLst>
          </p:cNvPr>
          <p:cNvSpPr txBox="1"/>
          <p:nvPr/>
        </p:nvSpPr>
        <p:spPr>
          <a:xfrm>
            <a:off x="3046" y="6641693"/>
            <a:ext cx="12188169" cy="215444"/>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is presentation is for informational purposes only. For legal advice, please contact an attorney</a:t>
            </a:r>
            <a:r>
              <a:rPr kumimoji="0" lang="en-US" sz="1400" b="1" i="0" u="none" strike="noStrike" kern="1200" cap="none" spc="0" normalizeH="0" baseline="0" noProof="0">
                <a:ln>
                  <a:noFill/>
                </a:ln>
                <a:solidFill>
                  <a:srgbClr val="000000"/>
                </a:solidFill>
                <a:effectLst/>
                <a:uLnTx/>
                <a:uFillTx/>
                <a:latin typeface="Arial"/>
                <a:ea typeface="+mn-ea"/>
                <a:cs typeface="Arial"/>
              </a:rPr>
              <a:t>.</a:t>
            </a:r>
          </a:p>
        </p:txBody>
      </p:sp>
    </p:spTree>
    <p:extLst>
      <p:ext uri="{BB962C8B-B14F-4D97-AF65-F5344CB8AC3E}">
        <p14:creationId xmlns:p14="http://schemas.microsoft.com/office/powerpoint/2010/main" val="18463945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Adit &amp; Katie to upda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7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NAME" val="ACET"/>
</p:tagLst>
</file>

<file path=ppt/tags/tag203.xml><?xml version="1.0" encoding="utf-8"?>
<p:tagLst xmlns:a="http://schemas.openxmlformats.org/drawingml/2006/main" xmlns:r="http://schemas.openxmlformats.org/officeDocument/2006/relationships" xmlns:p="http://schemas.openxmlformats.org/presentationml/2006/main">
  <p:tag name="NAME" val="Moon"/>
</p:tagLst>
</file>

<file path=ppt/tags/tag204.xml><?xml version="1.0" encoding="utf-8"?>
<p:tagLst xmlns:a="http://schemas.openxmlformats.org/drawingml/2006/main" xmlns:r="http://schemas.openxmlformats.org/officeDocument/2006/relationships" xmlns:p="http://schemas.openxmlformats.org/presentationml/2006/main">
  <p:tag name="NAME" val="Moon"/>
</p:tagLst>
</file>

<file path=ppt/tags/tag205.xml><?xml version="1.0" encoding="utf-8"?>
<p:tagLst xmlns:a="http://schemas.openxmlformats.org/drawingml/2006/main" xmlns:r="http://schemas.openxmlformats.org/officeDocument/2006/relationships" xmlns:p="http://schemas.openxmlformats.org/presentationml/2006/main">
  <p:tag name="NAME" val="Moon"/>
</p:tagLst>
</file>

<file path=ppt/tags/tag206.xml><?xml version="1.0" encoding="utf-8"?>
<p:tagLst xmlns:a="http://schemas.openxmlformats.org/drawingml/2006/main" xmlns:r="http://schemas.openxmlformats.org/officeDocument/2006/relationships" xmlns:p="http://schemas.openxmlformats.org/presentationml/2006/main">
  <p:tag name="NAME" val="Moon"/>
</p:tagLst>
</file>

<file path=ppt/tags/tag207.xml><?xml version="1.0" encoding="utf-8"?>
<p:tagLst xmlns:a="http://schemas.openxmlformats.org/drawingml/2006/main" xmlns:r="http://schemas.openxmlformats.org/officeDocument/2006/relationships" xmlns:p="http://schemas.openxmlformats.org/presentationml/2006/main">
  <p:tag name="NAME" val="Moon"/>
</p:tagLst>
</file>

<file path=ppt/tags/tag208.xml><?xml version="1.0" encoding="utf-8"?>
<p:tagLst xmlns:a="http://schemas.openxmlformats.org/drawingml/2006/main" xmlns:r="http://schemas.openxmlformats.org/officeDocument/2006/relationships" xmlns:p="http://schemas.openxmlformats.org/presentationml/2006/main">
  <p:tag name="ANGLE" val="5"/>
</p:tagLst>
</file>

<file path=ppt/tags/tag209.xml><?xml version="1.0" encoding="utf-8"?>
<p:tagLst xmlns:a="http://schemas.openxmlformats.org/drawingml/2006/main" xmlns:r="http://schemas.openxmlformats.org/officeDocument/2006/relationships" xmlns:p="http://schemas.openxmlformats.org/presentationml/2006/main">
  <p:tag name="ANGLE" val="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NGLE" val="4"/>
</p:tagLst>
</file>

<file path=ppt/tags/tag211.xml><?xml version="1.0" encoding="utf-8"?>
<p:tagLst xmlns:a="http://schemas.openxmlformats.org/drawingml/2006/main" xmlns:r="http://schemas.openxmlformats.org/officeDocument/2006/relationships" xmlns:p="http://schemas.openxmlformats.org/presentationml/2006/main">
  <p:tag name="ANGLE" val="4"/>
</p:tagLst>
</file>

<file path=ppt/tags/tag212.xml><?xml version="1.0" encoding="utf-8"?>
<p:tagLst xmlns:a="http://schemas.openxmlformats.org/drawingml/2006/main" xmlns:r="http://schemas.openxmlformats.org/officeDocument/2006/relationships" xmlns:p="http://schemas.openxmlformats.org/presentationml/2006/main">
  <p:tag name="ANGLE" val="3"/>
</p:tagLst>
</file>

<file path=ppt/tags/tag213.xml><?xml version="1.0" encoding="utf-8"?>
<p:tagLst xmlns:a="http://schemas.openxmlformats.org/drawingml/2006/main" xmlns:r="http://schemas.openxmlformats.org/officeDocument/2006/relationships" xmlns:p="http://schemas.openxmlformats.org/presentationml/2006/main">
  <p:tag name="ANGLE" val="3"/>
</p:tagLst>
</file>

<file path=ppt/tags/tag214.xml><?xml version="1.0" encoding="utf-8"?>
<p:tagLst xmlns:a="http://schemas.openxmlformats.org/drawingml/2006/main" xmlns:r="http://schemas.openxmlformats.org/officeDocument/2006/relationships" xmlns:p="http://schemas.openxmlformats.org/presentationml/2006/main">
  <p:tag name="ANGLE" val="2"/>
</p:tagLst>
</file>

<file path=ppt/tags/tag215.xml><?xml version="1.0" encoding="utf-8"?>
<p:tagLst xmlns:a="http://schemas.openxmlformats.org/drawingml/2006/main" xmlns:r="http://schemas.openxmlformats.org/officeDocument/2006/relationships" xmlns:p="http://schemas.openxmlformats.org/presentationml/2006/main">
  <p:tag name="ANGLE" val="2"/>
</p:tagLst>
</file>

<file path=ppt/tags/tag216.xml><?xml version="1.0" encoding="utf-8"?>
<p:tagLst xmlns:a="http://schemas.openxmlformats.org/drawingml/2006/main" xmlns:r="http://schemas.openxmlformats.org/officeDocument/2006/relationships" xmlns:p="http://schemas.openxmlformats.org/presentationml/2006/main">
  <p:tag name="ANGLE" val="1"/>
</p:tagLst>
</file>

<file path=ppt/tags/tag217.xml><?xml version="1.0" encoding="utf-8"?>
<p:tagLst xmlns:a="http://schemas.openxmlformats.org/drawingml/2006/main" xmlns:r="http://schemas.openxmlformats.org/officeDocument/2006/relationships" xmlns:p="http://schemas.openxmlformats.org/presentationml/2006/main">
  <p:tag name="ANGLE" val="1"/>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1.xml><?xml version="1.0" encoding="utf-8"?>
<p:tagLst xmlns:a="http://schemas.openxmlformats.org/drawingml/2006/main" xmlns:r="http://schemas.openxmlformats.org/officeDocument/2006/relationships" xmlns:p="http://schemas.openxmlformats.org/presentationml/2006/main">
  <p:tag name="SHAPENAME" val="Subtitle"/>
</p:tagLst>
</file>

<file path=ppt/tags/tag222.xml><?xml version="1.0" encoding="utf-8"?>
<p:tagLst xmlns:a="http://schemas.openxmlformats.org/drawingml/2006/main" xmlns:r="http://schemas.openxmlformats.org/officeDocument/2006/relationships" xmlns:p="http://schemas.openxmlformats.org/presentationml/2006/main">
  <p:tag name="SHAPENAME" val="Titl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5.xml><?xml version="1.0" encoding="utf-8"?>
<p:tagLst xmlns:a="http://schemas.openxmlformats.org/drawingml/2006/main" xmlns:r="http://schemas.openxmlformats.org/officeDocument/2006/relationships" xmlns:p="http://schemas.openxmlformats.org/presentationml/2006/main">
  <p:tag name="SHAPENAME" val="Subtitle"/>
</p:tagLst>
</file>

<file path=ppt/tags/tag226.xml><?xml version="1.0" encoding="utf-8"?>
<p:tagLst xmlns:a="http://schemas.openxmlformats.org/drawingml/2006/main" xmlns:r="http://schemas.openxmlformats.org/officeDocument/2006/relationships" xmlns:p="http://schemas.openxmlformats.org/presentationml/2006/main">
  <p:tag name="SHAPENAME" val="Title"/>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SHAPENAME" val="5. Source"/>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SHAPENAME" val="4. Footnote"/>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NAME" val="ACET"/>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NAME" val="Moon"/>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ANGLE" val="5"/>
</p:tagLst>
</file>

<file path=ppt/tags/tag263.xml><?xml version="1.0" encoding="utf-8"?>
<p:tagLst xmlns:a="http://schemas.openxmlformats.org/drawingml/2006/main" xmlns:r="http://schemas.openxmlformats.org/officeDocument/2006/relationships" xmlns:p="http://schemas.openxmlformats.org/presentationml/2006/main">
  <p:tag name="ANGLE" val="5"/>
</p:tagLst>
</file>

<file path=ppt/tags/tag264.xml><?xml version="1.0" encoding="utf-8"?>
<p:tagLst xmlns:a="http://schemas.openxmlformats.org/drawingml/2006/main" xmlns:r="http://schemas.openxmlformats.org/officeDocument/2006/relationships" xmlns:p="http://schemas.openxmlformats.org/presentationml/2006/main">
  <p:tag name="ANGLE" val="4"/>
</p:tagLst>
</file>

<file path=ppt/tags/tag265.xml><?xml version="1.0" encoding="utf-8"?>
<p:tagLst xmlns:a="http://schemas.openxmlformats.org/drawingml/2006/main" xmlns:r="http://schemas.openxmlformats.org/officeDocument/2006/relationships" xmlns:p="http://schemas.openxmlformats.org/presentationml/2006/main">
  <p:tag name="ANGLE" val="4"/>
</p:tagLst>
</file>

<file path=ppt/tags/tag266.xml><?xml version="1.0" encoding="utf-8"?>
<p:tagLst xmlns:a="http://schemas.openxmlformats.org/drawingml/2006/main" xmlns:r="http://schemas.openxmlformats.org/officeDocument/2006/relationships" xmlns:p="http://schemas.openxmlformats.org/presentationml/2006/main">
  <p:tag name="ANGLE" val="3"/>
</p:tagLst>
</file>

<file path=ppt/tags/tag267.xml><?xml version="1.0" encoding="utf-8"?>
<p:tagLst xmlns:a="http://schemas.openxmlformats.org/drawingml/2006/main" xmlns:r="http://schemas.openxmlformats.org/officeDocument/2006/relationships" xmlns:p="http://schemas.openxmlformats.org/presentationml/2006/main">
  <p:tag name="ANGLE" val="3"/>
</p:tagLst>
</file>

<file path=ppt/tags/tag268.xml><?xml version="1.0" encoding="utf-8"?>
<p:tagLst xmlns:a="http://schemas.openxmlformats.org/drawingml/2006/main" xmlns:r="http://schemas.openxmlformats.org/officeDocument/2006/relationships" xmlns:p="http://schemas.openxmlformats.org/presentationml/2006/main">
  <p:tag name="ANGLE" val="2"/>
</p:tagLst>
</file>

<file path=ppt/tags/tag269.xml><?xml version="1.0" encoding="utf-8"?>
<p:tagLst xmlns:a="http://schemas.openxmlformats.org/drawingml/2006/main" xmlns:r="http://schemas.openxmlformats.org/officeDocument/2006/relationships" xmlns:p="http://schemas.openxmlformats.org/presentationml/2006/main">
  <p:tag name="ANGLE" val="2"/>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0.xml><?xml version="1.0" encoding="utf-8"?>
<p:tagLst xmlns:a="http://schemas.openxmlformats.org/drawingml/2006/main" xmlns:r="http://schemas.openxmlformats.org/officeDocument/2006/relationships" xmlns:p="http://schemas.openxmlformats.org/presentationml/2006/main">
  <p:tag name="ANGLE" val="1"/>
</p:tagLst>
</file>

<file path=ppt/tags/tag271.xml><?xml version="1.0" encoding="utf-8"?>
<p:tagLst xmlns:a="http://schemas.openxmlformats.org/drawingml/2006/main" xmlns:r="http://schemas.openxmlformats.org/officeDocument/2006/relationships" xmlns:p="http://schemas.openxmlformats.org/presentationml/2006/main">
  <p:tag name="ANGLE" val="1"/>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5.xml><?xml version="1.0" encoding="utf-8"?>
<p:tagLst xmlns:a="http://schemas.openxmlformats.org/drawingml/2006/main" xmlns:r="http://schemas.openxmlformats.org/officeDocument/2006/relationships" xmlns:p="http://schemas.openxmlformats.org/presentationml/2006/main">
  <p:tag name="SHAPENAME" val="Subtitle"/>
</p:tagLst>
</file>

<file path=ppt/tags/tag276.xml><?xml version="1.0" encoding="utf-8"?>
<p:tagLst xmlns:a="http://schemas.openxmlformats.org/drawingml/2006/main" xmlns:r="http://schemas.openxmlformats.org/officeDocument/2006/relationships" xmlns:p="http://schemas.openxmlformats.org/presentationml/2006/main">
  <p:tag name="SHAPENAME" val="Titl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9.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Title"/>
</p:tagLst>
</file>

<file path=ppt/tags/tag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6.xml><?xml version="1.0" encoding="utf-8"?>
<p:tagLst xmlns:a="http://schemas.openxmlformats.org/drawingml/2006/main" xmlns:r="http://schemas.openxmlformats.org/officeDocument/2006/relationships" xmlns:p="http://schemas.openxmlformats.org/presentationml/2006/main">
  <p:tag name="SHAPENAME" val="5. Source"/>
</p:tagLst>
</file>

<file path=ppt/tags/tag2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NAME" val="ACET"/>
</p:tagLst>
</file>

<file path=ppt/tags/tag305.xml><?xml version="1.0" encoding="utf-8"?>
<p:tagLst xmlns:a="http://schemas.openxmlformats.org/drawingml/2006/main" xmlns:r="http://schemas.openxmlformats.org/officeDocument/2006/relationships" xmlns:p="http://schemas.openxmlformats.org/presentationml/2006/main">
  <p:tag name="NAME" val="Moon"/>
</p:tagLst>
</file>

<file path=ppt/tags/tag306.xml><?xml version="1.0" encoding="utf-8"?>
<p:tagLst xmlns:a="http://schemas.openxmlformats.org/drawingml/2006/main" xmlns:r="http://schemas.openxmlformats.org/officeDocument/2006/relationships" xmlns:p="http://schemas.openxmlformats.org/presentationml/2006/main">
  <p:tag name="NAME" val="Moon"/>
</p:tagLst>
</file>

<file path=ppt/tags/tag307.xml><?xml version="1.0" encoding="utf-8"?>
<p:tagLst xmlns:a="http://schemas.openxmlformats.org/drawingml/2006/main" xmlns:r="http://schemas.openxmlformats.org/officeDocument/2006/relationships" xmlns:p="http://schemas.openxmlformats.org/presentationml/2006/main">
  <p:tag name="NAME" val="Moon"/>
</p:tagLst>
</file>

<file path=ppt/tags/tag308.xml><?xml version="1.0" encoding="utf-8"?>
<p:tagLst xmlns:a="http://schemas.openxmlformats.org/drawingml/2006/main" xmlns:r="http://schemas.openxmlformats.org/officeDocument/2006/relationships" xmlns:p="http://schemas.openxmlformats.org/presentationml/2006/main">
  <p:tag name="NAME" val="Moon"/>
</p:tagLst>
</file>

<file path=ppt/tags/tag309.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ANGLE" val="5"/>
</p:tagLst>
</file>

<file path=ppt/tags/tag311.xml><?xml version="1.0" encoding="utf-8"?>
<p:tagLst xmlns:a="http://schemas.openxmlformats.org/drawingml/2006/main" xmlns:r="http://schemas.openxmlformats.org/officeDocument/2006/relationships" xmlns:p="http://schemas.openxmlformats.org/presentationml/2006/main">
  <p:tag name="ANGLE" val="5"/>
</p:tagLst>
</file>

<file path=ppt/tags/tag312.xml><?xml version="1.0" encoding="utf-8"?>
<p:tagLst xmlns:a="http://schemas.openxmlformats.org/drawingml/2006/main" xmlns:r="http://schemas.openxmlformats.org/officeDocument/2006/relationships" xmlns:p="http://schemas.openxmlformats.org/presentationml/2006/main">
  <p:tag name="ANGLE" val="4"/>
</p:tagLst>
</file>

<file path=ppt/tags/tag313.xml><?xml version="1.0" encoding="utf-8"?>
<p:tagLst xmlns:a="http://schemas.openxmlformats.org/drawingml/2006/main" xmlns:r="http://schemas.openxmlformats.org/officeDocument/2006/relationships" xmlns:p="http://schemas.openxmlformats.org/presentationml/2006/main">
  <p:tag name="ANGLE" val="4"/>
</p:tagLst>
</file>

<file path=ppt/tags/tag314.xml><?xml version="1.0" encoding="utf-8"?>
<p:tagLst xmlns:a="http://schemas.openxmlformats.org/drawingml/2006/main" xmlns:r="http://schemas.openxmlformats.org/officeDocument/2006/relationships" xmlns:p="http://schemas.openxmlformats.org/presentationml/2006/main">
  <p:tag name="ANGLE" val="3"/>
</p:tagLst>
</file>

<file path=ppt/tags/tag315.xml><?xml version="1.0" encoding="utf-8"?>
<p:tagLst xmlns:a="http://schemas.openxmlformats.org/drawingml/2006/main" xmlns:r="http://schemas.openxmlformats.org/officeDocument/2006/relationships" xmlns:p="http://schemas.openxmlformats.org/presentationml/2006/main">
  <p:tag name="ANGLE" val="3"/>
</p:tagLst>
</file>

<file path=ppt/tags/tag316.xml><?xml version="1.0" encoding="utf-8"?>
<p:tagLst xmlns:a="http://schemas.openxmlformats.org/drawingml/2006/main" xmlns:r="http://schemas.openxmlformats.org/officeDocument/2006/relationships" xmlns:p="http://schemas.openxmlformats.org/presentationml/2006/main">
  <p:tag name="ANGLE" val="2"/>
</p:tagLst>
</file>

<file path=ppt/tags/tag317.xml><?xml version="1.0" encoding="utf-8"?>
<p:tagLst xmlns:a="http://schemas.openxmlformats.org/drawingml/2006/main" xmlns:r="http://schemas.openxmlformats.org/officeDocument/2006/relationships" xmlns:p="http://schemas.openxmlformats.org/presentationml/2006/main">
  <p:tag name="ANGLE" val="2"/>
</p:tagLst>
</file>

<file path=ppt/tags/tag318.xml><?xml version="1.0" encoding="utf-8"?>
<p:tagLst xmlns:a="http://schemas.openxmlformats.org/drawingml/2006/main" xmlns:r="http://schemas.openxmlformats.org/officeDocument/2006/relationships" xmlns:p="http://schemas.openxmlformats.org/presentationml/2006/main">
  <p:tag name="ANGLE" val="1"/>
</p:tagLst>
</file>

<file path=ppt/tags/tag319.xml><?xml version="1.0" encoding="utf-8"?>
<p:tagLst xmlns:a="http://schemas.openxmlformats.org/drawingml/2006/main" xmlns:r="http://schemas.openxmlformats.org/officeDocument/2006/relationships" xmlns:p="http://schemas.openxmlformats.org/presentationml/2006/main">
  <p:tag name="ANGLE"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7.xml><?xml version="1.0" encoding="utf-8"?>
<p:tagLst xmlns:a="http://schemas.openxmlformats.org/drawingml/2006/main" xmlns:r="http://schemas.openxmlformats.org/officeDocument/2006/relationships" xmlns:p="http://schemas.openxmlformats.org/presentationml/2006/main">
  <p:tag name="SHAPENAME" val="Subtitle"/>
</p:tagLst>
</file>

<file path=ppt/tags/tag328.xml><?xml version="1.0" encoding="utf-8"?>
<p:tagLst xmlns:a="http://schemas.openxmlformats.org/drawingml/2006/main" xmlns:r="http://schemas.openxmlformats.org/officeDocument/2006/relationships" xmlns:p="http://schemas.openxmlformats.org/presentationml/2006/main">
  <p:tag name="SHAPENAME" val="Title"/>
</p:tagLst>
</file>

<file path=ppt/tags/tag3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SHAPENAME" val="5. Source"/>
</p:tagLst>
</file>

<file path=ppt/tags/tag3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3.xml><?xml version="1.0" encoding="utf-8"?>
<p:tagLst xmlns:a="http://schemas.openxmlformats.org/drawingml/2006/main" xmlns:r="http://schemas.openxmlformats.org/officeDocument/2006/relationships" xmlns:p="http://schemas.openxmlformats.org/presentationml/2006/main">
  <p:tag name="SHAPENAME" val="5. Source"/>
</p:tagLst>
</file>

<file path=ppt/tags/tag3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NAME" val="ACET"/>
</p:tagLst>
</file>

<file path=ppt/tags/tag359.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0.xml><?xml version="1.0" encoding="utf-8"?>
<p:tagLst xmlns:a="http://schemas.openxmlformats.org/drawingml/2006/main" xmlns:r="http://schemas.openxmlformats.org/officeDocument/2006/relationships" xmlns:p="http://schemas.openxmlformats.org/presentationml/2006/main">
  <p:tag name="NAME" val="Moon"/>
</p:tagLst>
</file>

<file path=ppt/tags/tag361.xml><?xml version="1.0" encoding="utf-8"?>
<p:tagLst xmlns:a="http://schemas.openxmlformats.org/drawingml/2006/main" xmlns:r="http://schemas.openxmlformats.org/officeDocument/2006/relationships" xmlns:p="http://schemas.openxmlformats.org/presentationml/2006/main">
  <p:tag name="NAME" val="Moon"/>
</p:tagLst>
</file>

<file path=ppt/tags/tag362.xml><?xml version="1.0" encoding="utf-8"?>
<p:tagLst xmlns:a="http://schemas.openxmlformats.org/drawingml/2006/main" xmlns:r="http://schemas.openxmlformats.org/officeDocument/2006/relationships" xmlns:p="http://schemas.openxmlformats.org/presentationml/2006/main">
  <p:tag name="NAME" val="Moon"/>
</p:tagLst>
</file>

<file path=ppt/tags/tag363.xml><?xml version="1.0" encoding="utf-8"?>
<p:tagLst xmlns:a="http://schemas.openxmlformats.org/drawingml/2006/main" xmlns:r="http://schemas.openxmlformats.org/officeDocument/2006/relationships" xmlns:p="http://schemas.openxmlformats.org/presentationml/2006/main">
  <p:tag name="NAME" val="Moon"/>
</p:tagLst>
</file>

<file path=ppt/tags/tag364.xml><?xml version="1.0" encoding="utf-8"?>
<p:tagLst xmlns:a="http://schemas.openxmlformats.org/drawingml/2006/main" xmlns:r="http://schemas.openxmlformats.org/officeDocument/2006/relationships" xmlns:p="http://schemas.openxmlformats.org/presentationml/2006/main">
  <p:tag name="ANGLE" val="5"/>
</p:tagLst>
</file>

<file path=ppt/tags/tag365.xml><?xml version="1.0" encoding="utf-8"?>
<p:tagLst xmlns:a="http://schemas.openxmlformats.org/drawingml/2006/main" xmlns:r="http://schemas.openxmlformats.org/officeDocument/2006/relationships" xmlns:p="http://schemas.openxmlformats.org/presentationml/2006/main">
  <p:tag name="ANGLE" val="5"/>
</p:tagLst>
</file>

<file path=ppt/tags/tag366.xml><?xml version="1.0" encoding="utf-8"?>
<p:tagLst xmlns:a="http://schemas.openxmlformats.org/drawingml/2006/main" xmlns:r="http://schemas.openxmlformats.org/officeDocument/2006/relationships" xmlns:p="http://schemas.openxmlformats.org/presentationml/2006/main">
  <p:tag name="ANGLE" val="4"/>
</p:tagLst>
</file>

<file path=ppt/tags/tag367.xml><?xml version="1.0" encoding="utf-8"?>
<p:tagLst xmlns:a="http://schemas.openxmlformats.org/drawingml/2006/main" xmlns:r="http://schemas.openxmlformats.org/officeDocument/2006/relationships" xmlns:p="http://schemas.openxmlformats.org/presentationml/2006/main">
  <p:tag name="ANGLE" val="4"/>
</p:tagLst>
</file>

<file path=ppt/tags/tag368.xml><?xml version="1.0" encoding="utf-8"?>
<p:tagLst xmlns:a="http://schemas.openxmlformats.org/drawingml/2006/main" xmlns:r="http://schemas.openxmlformats.org/officeDocument/2006/relationships" xmlns:p="http://schemas.openxmlformats.org/presentationml/2006/main">
  <p:tag name="ANGLE" val="3"/>
</p:tagLst>
</file>

<file path=ppt/tags/tag369.xml><?xml version="1.0" encoding="utf-8"?>
<p:tagLst xmlns:a="http://schemas.openxmlformats.org/drawingml/2006/main" xmlns:r="http://schemas.openxmlformats.org/officeDocument/2006/relationships" xmlns:p="http://schemas.openxmlformats.org/presentationml/2006/main">
  <p:tag name="ANGLE" val="3"/>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ANGLE" val="2"/>
</p:tagLst>
</file>

<file path=ppt/tags/tag371.xml><?xml version="1.0" encoding="utf-8"?>
<p:tagLst xmlns:a="http://schemas.openxmlformats.org/drawingml/2006/main" xmlns:r="http://schemas.openxmlformats.org/officeDocument/2006/relationships" xmlns:p="http://schemas.openxmlformats.org/presentationml/2006/main">
  <p:tag name="ANGLE" val="2"/>
</p:tagLst>
</file>

<file path=ppt/tags/tag372.xml><?xml version="1.0" encoding="utf-8"?>
<p:tagLst xmlns:a="http://schemas.openxmlformats.org/drawingml/2006/main" xmlns:r="http://schemas.openxmlformats.org/officeDocument/2006/relationships" xmlns:p="http://schemas.openxmlformats.org/presentationml/2006/main">
  <p:tag name="ANGLE" val="1"/>
</p:tagLst>
</file>

<file path=ppt/tags/tag373.xml><?xml version="1.0" encoding="utf-8"?>
<p:tagLst xmlns:a="http://schemas.openxmlformats.org/drawingml/2006/main" xmlns:r="http://schemas.openxmlformats.org/officeDocument/2006/relationships" xmlns:p="http://schemas.openxmlformats.org/presentationml/2006/main">
  <p:tag name="ANGLE" val="1"/>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7.xml><?xml version="1.0" encoding="utf-8"?>
<p:tagLst xmlns:a="http://schemas.openxmlformats.org/drawingml/2006/main" xmlns:r="http://schemas.openxmlformats.org/officeDocument/2006/relationships" xmlns:p="http://schemas.openxmlformats.org/presentationml/2006/main">
  <p:tag name="SHAPENAME" val="Subtitle"/>
</p:tagLst>
</file>

<file path=ppt/tags/tag378.xml><?xml version="1.0" encoding="utf-8"?>
<p:tagLst xmlns:a="http://schemas.openxmlformats.org/drawingml/2006/main" xmlns:r="http://schemas.openxmlformats.org/officeDocument/2006/relationships" xmlns:p="http://schemas.openxmlformats.org/presentationml/2006/main">
  <p:tag name="SHAPENAME" val="Titl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81.xml><?xml version="1.0" encoding="utf-8"?>
<p:tagLst xmlns:a="http://schemas.openxmlformats.org/drawingml/2006/main" xmlns:r="http://schemas.openxmlformats.org/officeDocument/2006/relationships" xmlns:p="http://schemas.openxmlformats.org/presentationml/2006/main">
  <p:tag name="SHAPENAME" val="Subtitle"/>
</p:tagLst>
</file>

<file path=ppt/tags/tag382.xml><?xml version="1.0" encoding="utf-8"?>
<p:tagLst xmlns:a="http://schemas.openxmlformats.org/drawingml/2006/main" xmlns:r="http://schemas.openxmlformats.org/officeDocument/2006/relationships" xmlns:p="http://schemas.openxmlformats.org/presentationml/2006/main">
  <p:tag name="SHAPENAME" val="Title"/>
</p:tagLst>
</file>

<file path=ppt/tags/tag3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SHAPENAME" val="5. Source"/>
</p:tagLst>
</file>

<file path=ppt/tags/tag3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4.xml><?xml version="1.0" encoding="utf-8"?>
<p:tagLst xmlns:a="http://schemas.openxmlformats.org/drawingml/2006/main" xmlns:r="http://schemas.openxmlformats.org/officeDocument/2006/relationships" xmlns:p="http://schemas.openxmlformats.org/presentationml/2006/main">
  <p:tag name="SHAPENAME" val="5. Source"/>
</p:tagLst>
</file>

<file path=ppt/tags/tag3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8.xml><?xml version="1.0" encoding="utf-8"?>
<p:tagLst xmlns:a="http://schemas.openxmlformats.org/drawingml/2006/main" xmlns:r="http://schemas.openxmlformats.org/officeDocument/2006/relationships" xmlns:p="http://schemas.openxmlformats.org/presentationml/2006/main">
  <p:tag name="SHAPENAME" val="5. Source"/>
</p:tagLst>
</file>

<file path=ppt/tags/tag3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SHAPENAME" val="5. Source"/>
</p:tagLst>
</file>

<file path=ppt/tags/tag4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6.xml><?xml version="1.0" encoding="utf-8"?>
<p:tagLst xmlns:a="http://schemas.openxmlformats.org/drawingml/2006/main" xmlns:r="http://schemas.openxmlformats.org/officeDocument/2006/relationships" xmlns:p="http://schemas.openxmlformats.org/presentationml/2006/main">
  <p:tag name="NAME" val="ACET"/>
</p:tagLst>
</file>

<file path=ppt/tags/tag407.xml><?xml version="1.0" encoding="utf-8"?>
<p:tagLst xmlns:a="http://schemas.openxmlformats.org/drawingml/2006/main" xmlns:r="http://schemas.openxmlformats.org/officeDocument/2006/relationships" xmlns:p="http://schemas.openxmlformats.org/presentationml/2006/main">
  <p:tag name="NAME" val="Moon"/>
</p:tagLst>
</file>

<file path=ppt/tags/tag408.xml><?xml version="1.0" encoding="utf-8"?>
<p:tagLst xmlns:a="http://schemas.openxmlformats.org/drawingml/2006/main" xmlns:r="http://schemas.openxmlformats.org/officeDocument/2006/relationships" xmlns:p="http://schemas.openxmlformats.org/presentationml/2006/main">
  <p:tag name="NAME" val="Moon"/>
</p:tagLst>
</file>

<file path=ppt/tags/tag409.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10.xml><?xml version="1.0" encoding="utf-8"?>
<p:tagLst xmlns:a="http://schemas.openxmlformats.org/drawingml/2006/main" xmlns:r="http://schemas.openxmlformats.org/officeDocument/2006/relationships" xmlns:p="http://schemas.openxmlformats.org/presentationml/2006/main">
  <p:tag name="NAME" val="Moon"/>
</p:tagLst>
</file>

<file path=ppt/tags/tag411.xml><?xml version="1.0" encoding="utf-8"?>
<p:tagLst xmlns:a="http://schemas.openxmlformats.org/drawingml/2006/main" xmlns:r="http://schemas.openxmlformats.org/officeDocument/2006/relationships" xmlns:p="http://schemas.openxmlformats.org/presentationml/2006/main">
  <p:tag name="NAME" val="Moon"/>
</p:tagLst>
</file>

<file path=ppt/tags/tag412.xml><?xml version="1.0" encoding="utf-8"?>
<p:tagLst xmlns:a="http://schemas.openxmlformats.org/drawingml/2006/main" xmlns:r="http://schemas.openxmlformats.org/officeDocument/2006/relationships" xmlns:p="http://schemas.openxmlformats.org/presentationml/2006/main">
  <p:tag name="ANGLE" val="5"/>
</p:tagLst>
</file>

<file path=ppt/tags/tag413.xml><?xml version="1.0" encoding="utf-8"?>
<p:tagLst xmlns:a="http://schemas.openxmlformats.org/drawingml/2006/main" xmlns:r="http://schemas.openxmlformats.org/officeDocument/2006/relationships" xmlns:p="http://schemas.openxmlformats.org/presentationml/2006/main">
  <p:tag name="ANGLE" val="5"/>
</p:tagLst>
</file>

<file path=ppt/tags/tag414.xml><?xml version="1.0" encoding="utf-8"?>
<p:tagLst xmlns:a="http://schemas.openxmlformats.org/drawingml/2006/main" xmlns:r="http://schemas.openxmlformats.org/officeDocument/2006/relationships" xmlns:p="http://schemas.openxmlformats.org/presentationml/2006/main">
  <p:tag name="ANGLE" val="4"/>
</p:tagLst>
</file>

<file path=ppt/tags/tag415.xml><?xml version="1.0" encoding="utf-8"?>
<p:tagLst xmlns:a="http://schemas.openxmlformats.org/drawingml/2006/main" xmlns:r="http://schemas.openxmlformats.org/officeDocument/2006/relationships" xmlns:p="http://schemas.openxmlformats.org/presentationml/2006/main">
  <p:tag name="ANGLE" val="4"/>
</p:tagLst>
</file>

<file path=ppt/tags/tag416.xml><?xml version="1.0" encoding="utf-8"?>
<p:tagLst xmlns:a="http://schemas.openxmlformats.org/drawingml/2006/main" xmlns:r="http://schemas.openxmlformats.org/officeDocument/2006/relationships" xmlns:p="http://schemas.openxmlformats.org/presentationml/2006/main">
  <p:tag name="ANGLE" val="3"/>
</p:tagLst>
</file>

<file path=ppt/tags/tag417.xml><?xml version="1.0" encoding="utf-8"?>
<p:tagLst xmlns:a="http://schemas.openxmlformats.org/drawingml/2006/main" xmlns:r="http://schemas.openxmlformats.org/officeDocument/2006/relationships" xmlns:p="http://schemas.openxmlformats.org/presentationml/2006/main">
  <p:tag name="ANGLE" val="3"/>
</p:tagLst>
</file>

<file path=ppt/tags/tag418.xml><?xml version="1.0" encoding="utf-8"?>
<p:tagLst xmlns:a="http://schemas.openxmlformats.org/drawingml/2006/main" xmlns:r="http://schemas.openxmlformats.org/officeDocument/2006/relationships" xmlns:p="http://schemas.openxmlformats.org/presentationml/2006/main">
  <p:tag name="ANGLE" val="2"/>
</p:tagLst>
</file>

<file path=ppt/tags/tag419.xml><?xml version="1.0" encoding="utf-8"?>
<p:tagLst xmlns:a="http://schemas.openxmlformats.org/drawingml/2006/main" xmlns:r="http://schemas.openxmlformats.org/officeDocument/2006/relationships" xmlns:p="http://schemas.openxmlformats.org/presentationml/2006/main">
  <p:tag name="ANGLE" val="2"/>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0.xml><?xml version="1.0" encoding="utf-8"?>
<p:tagLst xmlns:a="http://schemas.openxmlformats.org/drawingml/2006/main" xmlns:r="http://schemas.openxmlformats.org/officeDocument/2006/relationships" xmlns:p="http://schemas.openxmlformats.org/presentationml/2006/main">
  <p:tag name="ANGLE" val="1"/>
</p:tagLst>
</file>

<file path=ppt/tags/tag421.xml><?xml version="1.0" encoding="utf-8"?>
<p:tagLst xmlns:a="http://schemas.openxmlformats.org/drawingml/2006/main" xmlns:r="http://schemas.openxmlformats.org/officeDocument/2006/relationships" xmlns:p="http://schemas.openxmlformats.org/presentationml/2006/main">
  <p:tag name="ANGLE" val="1"/>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25.xml><?xml version="1.0" encoding="utf-8"?>
<p:tagLst xmlns:a="http://schemas.openxmlformats.org/drawingml/2006/main" xmlns:r="http://schemas.openxmlformats.org/officeDocument/2006/relationships" xmlns:p="http://schemas.openxmlformats.org/presentationml/2006/main">
  <p:tag name="SHAPENAME" val="Subtitle"/>
</p:tagLst>
</file>

<file path=ppt/tags/tag426.xml><?xml version="1.0" encoding="utf-8"?>
<p:tagLst xmlns:a="http://schemas.openxmlformats.org/drawingml/2006/main" xmlns:r="http://schemas.openxmlformats.org/officeDocument/2006/relationships" xmlns:p="http://schemas.openxmlformats.org/presentationml/2006/main">
  <p:tag name="SHAPENAME" val="Titl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29.xml><?xml version="1.0" encoding="utf-8"?>
<p:tagLst xmlns:a="http://schemas.openxmlformats.org/drawingml/2006/main" xmlns:r="http://schemas.openxmlformats.org/officeDocument/2006/relationships" xmlns:p="http://schemas.openxmlformats.org/presentationml/2006/main">
  <p:tag name="SHAPENAME" val="Sub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SHAPENAME" val="Title"/>
</p:tagLst>
</file>

<file path=ppt/tags/tag4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34.xml><?xml version="1.0" encoding="utf-8"?>
<p:tagLst xmlns:a="http://schemas.openxmlformats.org/drawingml/2006/main" xmlns:r="http://schemas.openxmlformats.org/officeDocument/2006/relationships" xmlns:p="http://schemas.openxmlformats.org/presentationml/2006/main">
  <p:tag name="SHAPENAME" val="5. Source"/>
</p:tagLst>
</file>

<file path=ppt/tags/tag4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2.xml><?xml version="1.0" encoding="utf-8"?>
<p:tagLst xmlns:a="http://schemas.openxmlformats.org/drawingml/2006/main" xmlns:r="http://schemas.openxmlformats.org/officeDocument/2006/relationships" xmlns:p="http://schemas.openxmlformats.org/presentationml/2006/main">
  <p:tag name="SHAPENAME" val="5. Source"/>
</p:tagLst>
</file>

<file path=ppt/tags/tag4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6.xml><?xml version="1.0" encoding="utf-8"?>
<p:tagLst xmlns:a="http://schemas.openxmlformats.org/drawingml/2006/main" xmlns:r="http://schemas.openxmlformats.org/officeDocument/2006/relationships" xmlns:p="http://schemas.openxmlformats.org/presentationml/2006/main">
  <p:tag name="SHAPENAME" val="5. Source"/>
</p:tagLst>
</file>

<file path=ppt/tags/tag4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4.xml><?xml version="1.0" encoding="utf-8"?>
<p:tagLst xmlns:a="http://schemas.openxmlformats.org/drawingml/2006/main" xmlns:r="http://schemas.openxmlformats.org/officeDocument/2006/relationships" xmlns:p="http://schemas.openxmlformats.org/presentationml/2006/main">
  <p:tag name="NAME" val="ACET"/>
</p:tagLst>
</file>

<file path=ppt/tags/tag455.xml><?xml version="1.0" encoding="utf-8"?>
<p:tagLst xmlns:a="http://schemas.openxmlformats.org/drawingml/2006/main" xmlns:r="http://schemas.openxmlformats.org/officeDocument/2006/relationships" xmlns:p="http://schemas.openxmlformats.org/presentationml/2006/main">
  <p:tag name="NAME" val="Moon"/>
</p:tagLst>
</file>

<file path=ppt/tags/tag456.xml><?xml version="1.0" encoding="utf-8"?>
<p:tagLst xmlns:a="http://schemas.openxmlformats.org/drawingml/2006/main" xmlns:r="http://schemas.openxmlformats.org/officeDocument/2006/relationships" xmlns:p="http://schemas.openxmlformats.org/presentationml/2006/main">
  <p:tag name="NAME" val="Moon"/>
</p:tagLst>
</file>

<file path=ppt/tags/tag457.xml><?xml version="1.0" encoding="utf-8"?>
<p:tagLst xmlns:a="http://schemas.openxmlformats.org/drawingml/2006/main" xmlns:r="http://schemas.openxmlformats.org/officeDocument/2006/relationships" xmlns:p="http://schemas.openxmlformats.org/presentationml/2006/main">
  <p:tag name="NAME" val="Moon"/>
</p:tagLst>
</file>

<file path=ppt/tags/tag458.xml><?xml version="1.0" encoding="utf-8"?>
<p:tagLst xmlns:a="http://schemas.openxmlformats.org/drawingml/2006/main" xmlns:r="http://schemas.openxmlformats.org/officeDocument/2006/relationships" xmlns:p="http://schemas.openxmlformats.org/presentationml/2006/main">
  <p:tag name="NAME" val="Moon"/>
</p:tagLst>
</file>

<file path=ppt/tags/tag459.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ANGLE" val="5"/>
</p:tagLst>
</file>

<file path=ppt/tags/tag461.xml><?xml version="1.0" encoding="utf-8"?>
<p:tagLst xmlns:a="http://schemas.openxmlformats.org/drawingml/2006/main" xmlns:r="http://schemas.openxmlformats.org/officeDocument/2006/relationships" xmlns:p="http://schemas.openxmlformats.org/presentationml/2006/main">
  <p:tag name="ANGLE" val="5"/>
</p:tagLst>
</file>

<file path=ppt/tags/tag462.xml><?xml version="1.0" encoding="utf-8"?>
<p:tagLst xmlns:a="http://schemas.openxmlformats.org/drawingml/2006/main" xmlns:r="http://schemas.openxmlformats.org/officeDocument/2006/relationships" xmlns:p="http://schemas.openxmlformats.org/presentationml/2006/main">
  <p:tag name="ANGLE" val="4"/>
</p:tagLst>
</file>

<file path=ppt/tags/tag463.xml><?xml version="1.0" encoding="utf-8"?>
<p:tagLst xmlns:a="http://schemas.openxmlformats.org/drawingml/2006/main" xmlns:r="http://schemas.openxmlformats.org/officeDocument/2006/relationships" xmlns:p="http://schemas.openxmlformats.org/presentationml/2006/main">
  <p:tag name="ANGLE" val="4"/>
</p:tagLst>
</file>

<file path=ppt/tags/tag464.xml><?xml version="1.0" encoding="utf-8"?>
<p:tagLst xmlns:a="http://schemas.openxmlformats.org/drawingml/2006/main" xmlns:r="http://schemas.openxmlformats.org/officeDocument/2006/relationships" xmlns:p="http://schemas.openxmlformats.org/presentationml/2006/main">
  <p:tag name="ANGLE" val="3"/>
</p:tagLst>
</file>

<file path=ppt/tags/tag465.xml><?xml version="1.0" encoding="utf-8"?>
<p:tagLst xmlns:a="http://schemas.openxmlformats.org/drawingml/2006/main" xmlns:r="http://schemas.openxmlformats.org/officeDocument/2006/relationships" xmlns:p="http://schemas.openxmlformats.org/presentationml/2006/main">
  <p:tag name="ANGLE" val="3"/>
</p:tagLst>
</file>

<file path=ppt/tags/tag466.xml><?xml version="1.0" encoding="utf-8"?>
<p:tagLst xmlns:a="http://schemas.openxmlformats.org/drawingml/2006/main" xmlns:r="http://schemas.openxmlformats.org/officeDocument/2006/relationships" xmlns:p="http://schemas.openxmlformats.org/presentationml/2006/main">
  <p:tag name="ANGLE" val="2"/>
</p:tagLst>
</file>

<file path=ppt/tags/tag467.xml><?xml version="1.0" encoding="utf-8"?>
<p:tagLst xmlns:a="http://schemas.openxmlformats.org/drawingml/2006/main" xmlns:r="http://schemas.openxmlformats.org/officeDocument/2006/relationships" xmlns:p="http://schemas.openxmlformats.org/presentationml/2006/main">
  <p:tag name="ANGLE" val="2"/>
</p:tagLst>
</file>

<file path=ppt/tags/tag468.xml><?xml version="1.0" encoding="utf-8"?>
<p:tagLst xmlns:a="http://schemas.openxmlformats.org/drawingml/2006/main" xmlns:r="http://schemas.openxmlformats.org/officeDocument/2006/relationships" xmlns:p="http://schemas.openxmlformats.org/presentationml/2006/main">
  <p:tag name="ANGLE" val="1"/>
</p:tagLst>
</file>

<file path=ppt/tags/tag469.xml><?xml version="1.0" encoding="utf-8"?>
<p:tagLst xmlns:a="http://schemas.openxmlformats.org/drawingml/2006/main" xmlns:r="http://schemas.openxmlformats.org/officeDocument/2006/relationships" xmlns:p="http://schemas.openxmlformats.org/presentationml/2006/main">
  <p:tag name="ANGLE"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73.xml><?xml version="1.0" encoding="utf-8"?>
<p:tagLst xmlns:a="http://schemas.openxmlformats.org/drawingml/2006/main" xmlns:r="http://schemas.openxmlformats.org/officeDocument/2006/relationships" xmlns:p="http://schemas.openxmlformats.org/presentationml/2006/main">
  <p:tag name="SHAPENAME" val="Subtitle"/>
</p:tagLst>
</file>

<file path=ppt/tags/tag474.xml><?xml version="1.0" encoding="utf-8"?>
<p:tagLst xmlns:a="http://schemas.openxmlformats.org/drawingml/2006/main" xmlns:r="http://schemas.openxmlformats.org/officeDocument/2006/relationships" xmlns:p="http://schemas.openxmlformats.org/presentationml/2006/main">
  <p:tag name="SHAPENAME" val="Titl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77.xml><?xml version="1.0" encoding="utf-8"?>
<p:tagLst xmlns:a="http://schemas.openxmlformats.org/drawingml/2006/main" xmlns:r="http://schemas.openxmlformats.org/officeDocument/2006/relationships" xmlns:p="http://schemas.openxmlformats.org/presentationml/2006/main">
  <p:tag name="SHAPENAME" val="Subtitle"/>
</p:tagLst>
</file>

<file path=ppt/tags/tag478.xml><?xml version="1.0" encoding="utf-8"?>
<p:tagLst xmlns:a="http://schemas.openxmlformats.org/drawingml/2006/main" xmlns:r="http://schemas.openxmlformats.org/officeDocument/2006/relationships" xmlns:p="http://schemas.openxmlformats.org/presentationml/2006/main">
  <p:tag name="SHAPENAME" val="Title"/>
</p:tagLst>
</file>

<file path=ppt/tags/tag4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82.xml><?xml version="1.0" encoding="utf-8"?>
<p:tagLst xmlns:a="http://schemas.openxmlformats.org/drawingml/2006/main" xmlns:r="http://schemas.openxmlformats.org/officeDocument/2006/relationships" xmlns:p="http://schemas.openxmlformats.org/presentationml/2006/main">
  <p:tag name="SHAPENAME" val="5. Source"/>
</p:tagLst>
</file>

<file path=ppt/tags/tag4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86.xml><?xml version="1.0" encoding="utf-8"?>
<p:tagLst xmlns:a="http://schemas.openxmlformats.org/drawingml/2006/main" xmlns:r="http://schemas.openxmlformats.org/officeDocument/2006/relationships" xmlns:p="http://schemas.openxmlformats.org/presentationml/2006/main">
  <p:tag name="SHAPENAME" val="5. Source"/>
</p:tagLst>
</file>

<file path=ppt/tags/tag4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94.xml><?xml version="1.0" encoding="utf-8"?>
<p:tagLst xmlns:a="http://schemas.openxmlformats.org/drawingml/2006/main" xmlns:r="http://schemas.openxmlformats.org/officeDocument/2006/relationships" xmlns:p="http://schemas.openxmlformats.org/presentationml/2006/main">
  <p:tag name="SHAPENAME" val="5. Source"/>
</p:tagLst>
</file>

<file path=ppt/tags/tag4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SHAPENAME" val="5. Source"/>
</p:tagLst>
</file>

<file path=ppt/tags/tag4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3.xml><?xml version="1.0" encoding="utf-8"?>
<p:tagLst xmlns:a="http://schemas.openxmlformats.org/drawingml/2006/main" xmlns:r="http://schemas.openxmlformats.org/officeDocument/2006/relationships" xmlns:p="http://schemas.openxmlformats.org/presentationml/2006/main">
  <p:tag name="SHAPENAME" val="5. Source"/>
</p:tagLst>
</file>

<file path=ppt/tags/tag5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4.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NAME" val="ACET"/>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ANGLE" val="5"/>
</p:tagLst>
</file>

<file path=ppt/tags/tag73.xml><?xml version="1.0" encoding="utf-8"?>
<p:tagLst xmlns:a="http://schemas.openxmlformats.org/drawingml/2006/main" xmlns:r="http://schemas.openxmlformats.org/officeDocument/2006/relationships" xmlns:p="http://schemas.openxmlformats.org/presentationml/2006/main">
  <p:tag name="ANGLE" val="5"/>
</p:tagLst>
</file>

<file path=ppt/tags/tag74.xml><?xml version="1.0" encoding="utf-8"?>
<p:tagLst xmlns:a="http://schemas.openxmlformats.org/drawingml/2006/main" xmlns:r="http://schemas.openxmlformats.org/officeDocument/2006/relationships" xmlns:p="http://schemas.openxmlformats.org/presentationml/2006/main">
  <p:tag name="ANGLE" val="4"/>
</p:tagLst>
</file>

<file path=ppt/tags/tag75.xml><?xml version="1.0" encoding="utf-8"?>
<p:tagLst xmlns:a="http://schemas.openxmlformats.org/drawingml/2006/main" xmlns:r="http://schemas.openxmlformats.org/officeDocument/2006/relationships" xmlns:p="http://schemas.openxmlformats.org/presentationml/2006/main">
  <p:tag name="ANGLE" val="4"/>
</p:tagLst>
</file>

<file path=ppt/tags/tag76.xml><?xml version="1.0" encoding="utf-8"?>
<p:tagLst xmlns:a="http://schemas.openxmlformats.org/drawingml/2006/main" xmlns:r="http://schemas.openxmlformats.org/officeDocument/2006/relationships" xmlns:p="http://schemas.openxmlformats.org/presentationml/2006/main">
  <p:tag name="ANGLE" val="3"/>
</p:tagLst>
</file>

<file path=ppt/tags/tag77.xml><?xml version="1.0" encoding="utf-8"?>
<p:tagLst xmlns:a="http://schemas.openxmlformats.org/drawingml/2006/main" xmlns:r="http://schemas.openxmlformats.org/officeDocument/2006/relationships" xmlns:p="http://schemas.openxmlformats.org/presentationml/2006/main">
  <p:tag name="ANGLE" val="3"/>
</p:tagLst>
</file>

<file path=ppt/tags/tag78.xml><?xml version="1.0" encoding="utf-8"?>
<p:tagLst xmlns:a="http://schemas.openxmlformats.org/drawingml/2006/main" xmlns:r="http://schemas.openxmlformats.org/officeDocument/2006/relationships" xmlns:p="http://schemas.openxmlformats.org/presentationml/2006/main">
  <p:tag name="ANGLE" val="2"/>
</p:tagLst>
</file>

<file path=ppt/tags/tag79.xml><?xml version="1.0" encoding="utf-8"?>
<p:tagLst xmlns:a="http://schemas.openxmlformats.org/drawingml/2006/main" xmlns:r="http://schemas.openxmlformats.org/officeDocument/2006/relationships" xmlns:p="http://schemas.openxmlformats.org/presentationml/2006/main">
  <p:tag name="ANGLE" val="2"/>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ANGLE" val="1"/>
</p:tagLst>
</file>

<file path=ppt/tags/tag81.xml><?xml version="1.0" encoding="utf-8"?>
<p:tagLst xmlns:a="http://schemas.openxmlformats.org/drawingml/2006/main" xmlns:r="http://schemas.openxmlformats.org/officeDocument/2006/relationships" xmlns:p="http://schemas.openxmlformats.org/presentationml/2006/main">
  <p:tag name="ANGLE"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5.xml><?xml version="1.0" encoding="utf-8"?>
<p:tagLst xmlns:a="http://schemas.openxmlformats.org/drawingml/2006/main" xmlns:r="http://schemas.openxmlformats.org/officeDocument/2006/relationships" xmlns:p="http://schemas.openxmlformats.org/presentationml/2006/main">
  <p:tag name="SHAPENAME" val="Subtitle"/>
</p:tagLst>
</file>

<file path=ppt/tags/tag86.xml><?xml version="1.0" encoding="utf-8"?>
<p:tagLst xmlns:a="http://schemas.openxmlformats.org/drawingml/2006/main" xmlns:r="http://schemas.openxmlformats.org/officeDocument/2006/relationships" xmlns:p="http://schemas.openxmlformats.org/presentationml/2006/main">
  <p:tag name="SHAPENAME" val="Titl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ite">
  <a:themeElements>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3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5.xml><?xml version="1.0" encoding="utf-8"?>
<a:theme xmlns:a="http://schemas.openxmlformats.org/drawingml/2006/main" name="4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6.xml><?xml version="1.0" encoding="utf-8"?>
<a:theme xmlns:a="http://schemas.openxmlformats.org/drawingml/2006/main" name="5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headEnd type="none" w="med" len="med"/>
          <a:tailEnd type="arrow" w="med" len="med"/>
        </a:ln>
      </a:spPr>
      <a:bodyPr/>
      <a:lstStyle/>
      <a:style>
        <a:lnRef idx="0">
          <a:scrgbClr r="0" g="0" b="0"/>
        </a:lnRef>
        <a:fillRef idx="0">
          <a:scrgbClr r="0" g="0" b="0"/>
        </a:fillRef>
        <a:effectRef idx="0">
          <a:scrgbClr r="0" g="0" b="0"/>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10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9.xml><?xml version="1.0" encoding="utf-8"?>
<a:theme xmlns:a="http://schemas.openxmlformats.org/drawingml/2006/main" name="6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08F43F4311C248A43B7E7DC97B5C6A" ma:contentTypeVersion="16" ma:contentTypeDescription="Create a new document." ma:contentTypeScope="" ma:versionID="a17369c5d6bb9470d106363cbced1be6">
  <xsd:schema xmlns:xsd="http://www.w3.org/2001/XMLSchema" xmlns:xs="http://www.w3.org/2001/XMLSchema" xmlns:p="http://schemas.microsoft.com/office/2006/metadata/properties" xmlns:ns2="25c80e6f-f754-49d6-955d-5c5539a86643" xmlns:ns3="63965529-2387-4859-8e01-6055136a058e" targetNamespace="http://schemas.microsoft.com/office/2006/metadata/properties" ma:root="true" ma:fieldsID="fb91d49b84c472048f1645b8bd4390e1" ns2:_="" ns3:_="">
    <xsd:import namespace="25c80e6f-f754-49d6-955d-5c5539a86643"/>
    <xsd:import namespace="63965529-2387-4859-8e01-6055136a058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LengthInSeconds" minOccurs="0"/>
                <xsd:element ref="ns2:MediaServiceOCR" minOccurs="0"/>
                <xsd:element ref="ns3:SharedWithUsers" minOccurs="0"/>
                <xsd:element ref="ns3:SharedWithDetails" minOccurs="0"/>
                <xsd:element ref="ns2:MediaServiceLocation"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c80e6f-f754-49d6-955d-5c5539a866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3428e4c9-7526-49ce-8b8c-691a1477fcdd"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965529-2387-4859-8e01-6055136a058e"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0bf7fc70-bd2c-4f5d-9add-0ac7c71ffef7}" ma:internalName="TaxCatchAll" ma:showField="CatchAllData" ma:web="63965529-2387-4859-8e01-6055136a058e">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5c80e6f-f754-49d6-955d-5c5539a86643">
      <Terms xmlns="http://schemas.microsoft.com/office/infopath/2007/PartnerControls"/>
    </lcf76f155ced4ddcb4097134ff3c332f>
    <TaxCatchAll xmlns="63965529-2387-4859-8e01-6055136a058e" xsi:nil="true"/>
    <SharedWithUsers xmlns="63965529-2387-4859-8e01-6055136a058e">
      <UserInfo>
        <DisplayName>Boodoo, Jesse M. (GOV)</DisplayName>
        <AccountId>237</AccountId>
        <AccountType/>
      </UserInfo>
      <UserInfo>
        <DisplayName>zzMoore, Austin (GOV)</DisplayName>
        <AccountId>184</AccountId>
        <AccountType/>
      </UserInfo>
      <UserInfo>
        <DisplayName>Hoysradt, Kristian (GOV)</DisplayName>
        <AccountId>55</AccountId>
        <AccountType/>
      </UserInfo>
      <UserInfo>
        <DisplayName>Tisinger, Katherine M. (EXT)</DisplayName>
        <AccountId>14</AccountId>
        <AccountType/>
      </UserInfo>
      <UserInfo>
        <DisplayName>Basheer, Aditya W. (A&amp;F)</DisplayName>
        <AccountId>16</AccountId>
        <AccountType/>
      </UserInfo>
      <UserInfo>
        <DisplayName>Melanson, Brian W. (A&amp;F)</DisplayName>
        <AccountId>240</AccountId>
        <AccountType/>
      </UserInfo>
      <UserInfo>
        <DisplayName>Mendoza, Nikko (EOHLC)</DisplayName>
        <AccountId>26</AccountId>
        <AccountType/>
      </UserInfo>
      <UserInfo>
        <DisplayName>Thompson, Chris (EOHLC)</DisplayName>
        <AccountId>145</AccountId>
        <AccountType/>
      </UserInfo>
      <UserInfo>
        <DisplayName>zzBaldwin, Cecilia Ugarte (GOV)</DisplayName>
        <AccountId>98</AccountId>
        <AccountType/>
      </UserInfo>
      <UserInfo>
        <DisplayName>Marqusee, Joanne (EHS)</DisplayName>
        <AccountId>43</AccountId>
        <AccountType/>
      </UserInfo>
      <UserInfo>
        <DisplayName>Terrey, Susan (EPS)</DisplayName>
        <AccountId>36</AccountId>
        <AccountType/>
      </UserInfo>
      <UserInfo>
        <DisplayName>McGeown, Mary (EHS)</DisplayName>
        <AccountId>143</AccountId>
        <AccountType/>
      </UserInfo>
      <UserInfo>
        <DisplayName>Bovell-Ammon, Allison (EHS)</DisplayName>
        <AccountId>34</AccountId>
        <AccountType/>
      </UserInfo>
      <UserInfo>
        <DisplayName>Cohen, Jesse (EOHLC)</DisplayName>
        <AccountId>25</AccountId>
        <AccountType/>
      </UserInfo>
      <UserInfo>
        <DisplayName>McElderry, Kristin</DisplayName>
        <AccountId>40</AccountId>
        <AccountType/>
      </UserInfo>
      <UserInfo>
        <DisplayName>Cuddy, Joshua (EOHLC)</DisplayName>
        <AccountId>301</AccountId>
        <AccountType/>
      </UserInfo>
      <UserInfo>
        <DisplayName>Stitely, Amy (EOHLC)</DisplayName>
        <AccountId>256</AccountId>
        <AccountType/>
      </UserInfo>
      <UserInfo>
        <DisplayName>Venguer, Nicole (A&amp;F)</DisplayName>
        <AccountId>68</AccountId>
        <AccountType/>
      </UserInfo>
      <UserInfo>
        <DisplayName>Rice, Scott (GOV)</DisplayName>
        <AccountId>278</AccountId>
        <AccountType/>
      </UserInfo>
      <UserInfo>
        <DisplayName>Mullarkey, Ita (EOHLC)</DisplayName>
        <AccountId>119</AccountId>
        <AccountType/>
      </UserInfo>
      <UserInfo>
        <DisplayName>zzRubin, Roberta (EOHLC)</DisplayName>
        <AccountId>24</AccountId>
        <AccountType/>
      </UserInfo>
      <UserInfo>
        <DisplayName>Hitt, Ellie (GOV)</DisplayName>
        <AccountId>263</AccountId>
        <AccountType/>
      </UserInfo>
      <UserInfo>
        <DisplayName>Kreiss, Andrew (GOV)</DisplayName>
        <AccountId>185</AccountId>
        <AccountType/>
      </UserInfo>
      <UserInfo>
        <DisplayName>Bartosch, William (EOHLC)</DisplayName>
        <AccountId>102</AccountId>
        <AccountType/>
      </UserInfo>
      <UserInfo>
        <DisplayName>Maddox, Jennifer (EOHLC)</DisplayName>
        <AccountId>27</AccountId>
        <AccountType/>
      </UserInfo>
      <UserInfo>
        <DisplayName>Griffin, Virginia K (EOHLC)</DisplayName>
        <AccountId>58</AccountId>
        <AccountType/>
      </UserInfo>
      <UserInfo>
        <DisplayName>Chua, Alexandra (GOV)</DisplayName>
        <AccountId>491</AccountId>
        <AccountType/>
      </UserInfo>
      <UserInfo>
        <DisplayName>Castillo, Marcela (GOV)</DisplayName>
        <AccountId>492</AccountId>
        <AccountType/>
      </UserInfo>
      <UserInfo>
        <DisplayName>McGee, Katherine A. (GOV)</DisplayName>
        <AccountId>339</AccountId>
        <AccountType/>
      </UserInfo>
      <UserInfo>
        <DisplayName>Arnold, Alyssa B. (A&amp;F)</DisplayName>
        <AccountId>510</AccountId>
        <AccountType/>
      </UserInfo>
      <UserInfo>
        <DisplayName>Higgins, Colin (EOHLC)</DisplayName>
        <AccountId>747</AccountId>
        <AccountType/>
      </UserInfo>
      <UserInfo>
        <DisplayName>Bresnahan, Karen (EOHLC)</DisplayName>
        <AccountId>117</AccountId>
        <AccountType/>
      </UserInfo>
      <UserInfo>
        <DisplayName>Sharp, Catia Ruth (A&amp;F)</DisplayName>
        <AccountId>348</AccountId>
        <AccountType/>
      </UserInfo>
      <UserInfo>
        <DisplayName>Tisinger, Katie (A&amp;F)</DisplayName>
        <AccountId>287</AccountId>
        <AccountType/>
      </UserInfo>
      <UserInfo>
        <DisplayName>Flaherty, TJ (GOV)</DisplayName>
        <AccountId>886</AccountId>
        <AccountType/>
      </UserInfo>
      <UserInfo>
        <DisplayName>Marcus, Claire X. (OCD)</DisplayName>
        <AccountId>947</AccountId>
        <AccountType/>
      </UserInfo>
      <UserInfo>
        <DisplayName>Hogan, Alyssa (GOV)</DisplayName>
        <AccountId>1213</AccountId>
        <AccountType/>
      </UserInfo>
      <UserInfo>
        <DisplayName>Ordway, Alysia M (EOL)</DisplayName>
        <AccountId>847</AccountId>
        <AccountType/>
      </UserInfo>
      <UserInfo>
        <DisplayName>Jhunjunwala, Saty (A&amp;F)</DisplayName>
        <AccountId>93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F743F8-540D-4F1F-96C0-24BE9BFB3308}"/>
</file>

<file path=customXml/itemProps2.xml><?xml version="1.0" encoding="utf-8"?>
<ds:datastoreItem xmlns:ds="http://schemas.openxmlformats.org/officeDocument/2006/customXml" ds:itemID="{FE111BB3-6091-45DD-8E22-425CEAE2FC56}">
  <ds:schemaRefs>
    <ds:schemaRef ds:uri="900d5874-448c-4cb7-9bae-bdc429d5eec5"/>
    <ds:schemaRef ds:uri="fb24ca43-2bae-443f-90ae-91266017e64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9879CA0-DAEF-4A32-952C-8A46A48293FE}">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9</Slides>
  <Notes>4</Notes>
  <HiddenSlides>0</HiddenSlides>
  <ScaleCrop>false</ScaleCrop>
  <HeadingPairs>
    <vt:vector size="4" baseType="variant">
      <vt:variant>
        <vt:lpstr>Theme</vt:lpstr>
      </vt:variant>
      <vt:variant>
        <vt:i4>9</vt:i4>
      </vt:variant>
      <vt:variant>
        <vt:lpstr>Slide Titles</vt:lpstr>
      </vt:variant>
      <vt:variant>
        <vt:i4>29</vt:i4>
      </vt:variant>
    </vt:vector>
  </HeadingPairs>
  <TitlesOfParts>
    <vt:vector size="38" baseType="lpstr">
      <vt:lpstr>White</vt:lpstr>
      <vt:lpstr>2_White</vt:lpstr>
      <vt:lpstr>1_White</vt:lpstr>
      <vt:lpstr>3_White</vt:lpstr>
      <vt:lpstr>4_White</vt:lpstr>
      <vt:lpstr>5_White</vt:lpstr>
      <vt:lpstr>Office Theme</vt:lpstr>
      <vt:lpstr>10_White</vt:lpstr>
      <vt:lpstr>6_White</vt:lpstr>
      <vt:lpstr>ORI Know Your Rights - updated</vt:lpstr>
      <vt:lpstr>Overview of Department of Homeland Security</vt:lpstr>
      <vt:lpstr> Interactions with Immigration Enforcement</vt:lpstr>
      <vt:lpstr>Overview of ICE Authority </vt:lpstr>
      <vt:lpstr>Basic Rules Surrounding ICE Authority</vt:lpstr>
      <vt:lpstr>Rules Surrounding ICE warrants</vt:lpstr>
      <vt:lpstr>ICE Warrant Requirements – Basic Rules</vt:lpstr>
      <vt:lpstr>Judicial Warrants v. ICE Administrative Warrants</vt:lpstr>
      <vt:lpstr>State Judicial Warrants</vt:lpstr>
      <vt:lpstr>State Judicial Warrants, Continued</vt:lpstr>
      <vt:lpstr>If Immigration Comes to Your Home</vt:lpstr>
      <vt:lpstr>General Rules &amp; Requirements of ICE</vt:lpstr>
      <vt:lpstr>ICE arrests Outside a Home, Without a Warrant</vt:lpstr>
      <vt:lpstr>Does ICE have to show an administrative warrant?</vt:lpstr>
      <vt:lpstr>Rights and Responsibilities of Bystanders</vt:lpstr>
      <vt:lpstr>Helpful Bystander Actions</vt:lpstr>
      <vt:lpstr>See Something, Say Something </vt:lpstr>
      <vt:lpstr>Know Your Rights Cards </vt:lpstr>
      <vt:lpstr>Working With Lawyers</vt:lpstr>
      <vt:lpstr>Legal Representation Fund (LRF)</vt:lpstr>
      <vt:lpstr>Habeas Background </vt:lpstr>
      <vt:lpstr>Habeas Project:  immigrationhabeasproject@gmail.com</vt:lpstr>
      <vt:lpstr>Other Questions:</vt:lpstr>
      <vt:lpstr>Protecting your assets: Homes, Bank Accounts and Businesses</vt:lpstr>
      <vt:lpstr>At risk?  Make A Safety Plan</vt:lpstr>
      <vt:lpstr>Basics of Family Preparedness</vt:lpstr>
      <vt:lpstr>Family at Risk? Make a family plan</vt:lpstr>
      <vt:lpstr>Resources</vt:lpstr>
      <vt:lpstr>Immigration Legal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Czepiel, Christopher (A&amp;F)</dc:creator>
  <cp:revision>1</cp:revision>
  <cp:lastPrinted>2024-07-25T15:13:39Z</cp:lastPrinted>
  <dcterms:created xsi:type="dcterms:W3CDTF">2021-09-26T22:27:24Z</dcterms:created>
  <dcterms:modified xsi:type="dcterms:W3CDTF">2025-10-03T15:1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08F43F4311C248A43B7E7DC97B5C6A</vt:lpwstr>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SlideSubTitleWidth">
    <vt:r8>9.8000001907347</vt:r8>
  </property>
</Properties>
</file>